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776" r:id="rId2"/>
  </p:sldMasterIdLst>
  <p:notesMasterIdLst>
    <p:notesMasterId r:id="rId19"/>
  </p:notesMasterIdLst>
  <p:sldIdLst>
    <p:sldId id="1630" r:id="rId3"/>
    <p:sldId id="11112" r:id="rId4"/>
    <p:sldId id="1631" r:id="rId5"/>
    <p:sldId id="11123" r:id="rId6"/>
    <p:sldId id="11120" r:id="rId7"/>
    <p:sldId id="11115" r:id="rId8"/>
    <p:sldId id="1508" r:id="rId9"/>
    <p:sldId id="647" r:id="rId10"/>
    <p:sldId id="11116" r:id="rId11"/>
    <p:sldId id="11117" r:id="rId12"/>
    <p:sldId id="11119" r:id="rId13"/>
    <p:sldId id="11122" r:id="rId14"/>
    <p:sldId id="11113" r:id="rId15"/>
    <p:sldId id="11121" r:id="rId16"/>
    <p:sldId id="677" r:id="rId17"/>
    <p:sldId id="165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A3EEF68-2F3E-4231-99A4-7476283206D3}">
          <p14:sldIdLst>
            <p14:sldId id="1630"/>
            <p14:sldId id="11112"/>
            <p14:sldId id="1631"/>
            <p14:sldId id="11123"/>
            <p14:sldId id="11120"/>
          </p14:sldIdLst>
        </p14:section>
        <p14:section name="Core Template" id="{0C8682EF-709C-4DD2-B11B-19E2D910C2A9}">
          <p14:sldIdLst>
            <p14:sldId id="11115"/>
            <p14:sldId id="1508"/>
            <p14:sldId id="647"/>
            <p14:sldId id="11116"/>
            <p14:sldId id="11117"/>
            <p14:sldId id="11119"/>
            <p14:sldId id="11122"/>
            <p14:sldId id="11113"/>
            <p14:sldId id="11121"/>
            <p14:sldId id="677"/>
            <p14:sldId id="165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83765"/>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495E66-8EBC-499F-BCAA-C0CA0FE1624D}" v="16" dt="2021-09-28T15:01:23.9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5" autoAdjust="0"/>
    <p:restoredTop sz="92579" autoAdjust="0"/>
  </p:normalViewPr>
  <p:slideViewPr>
    <p:cSldViewPr snapToGrid="0">
      <p:cViewPr varScale="1">
        <p:scale>
          <a:sx n="48" d="100"/>
          <a:sy n="48" d="100"/>
        </p:scale>
        <p:origin x="456" y="4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75" d="100"/>
          <a:sy n="75" d="100"/>
        </p:scale>
        <p:origin x="2651" y="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E1DD910-82B7-411B-86B9-779EC2DE4ABD}">
      <dgm:prSet custT="1"/>
      <dgm:spPr>
        <a:solidFill>
          <a:schemeClr val="accent4">
            <a:lumMod val="75000"/>
          </a:schemeClr>
        </a:solidFill>
      </dgm:spPr>
      <dgm:t>
        <a:bodyPr/>
        <a:lstStyle/>
        <a:p>
          <a:r>
            <a:rPr lang="en-US" sz="3200" dirty="0">
              <a:solidFill>
                <a:schemeClr val="bg1"/>
              </a:solidFill>
            </a:rPr>
            <a:t>Query Performance Insight</a:t>
          </a:r>
        </a:p>
      </dgm:t>
    </dgm:pt>
    <dgm:pt modelId="{2A74FAF1-0C25-4177-A263-A3087463B3AC}" type="parTrans" cxnId="{1AF7F9CE-8F94-4D3F-BAF2-C3C12662D4E0}">
      <dgm:prSet/>
      <dgm:spPr/>
      <dgm:t>
        <a:bodyPr/>
        <a:lstStyle/>
        <a:p>
          <a:endParaRPr lang="en-US"/>
        </a:p>
      </dgm:t>
    </dgm:pt>
    <dgm:pt modelId="{B6272E9F-8C73-47FA-A097-213295CCE98A}" type="sibTrans" cxnId="{1AF7F9CE-8F94-4D3F-BAF2-C3C12662D4E0}">
      <dgm:prSet/>
      <dgm:spPr/>
      <dgm:t>
        <a:bodyPr/>
        <a:lstStyle/>
        <a:p>
          <a:endParaRPr lang="en-US"/>
        </a:p>
      </dgm:t>
    </dgm:pt>
    <dgm:pt modelId="{31806E39-DA97-4FE6-BCC1-CE510A1766B0}">
      <dgm:prSet custT="1"/>
      <dgm:spPr>
        <a:solidFill>
          <a:schemeClr val="accent4">
            <a:lumMod val="75000"/>
          </a:schemeClr>
        </a:solidFill>
      </dgm:spPr>
      <dgm:t>
        <a:bodyPr/>
        <a:lstStyle/>
        <a:p>
          <a:pPr>
            <a:buFont typeface="Arial" panose="020B0604020202020204" pitchFamily="34" charset="0"/>
            <a:buChar char="•"/>
          </a:pPr>
          <a:r>
            <a:rPr lang="en-US" sz="3200" dirty="0">
              <a:solidFill>
                <a:schemeClr val="bg1"/>
              </a:solidFill>
            </a:rPr>
            <a:t>Automatic Tuning</a:t>
          </a:r>
        </a:p>
      </dgm:t>
    </dgm:pt>
    <dgm:pt modelId="{0855E89E-E2F9-49AF-A74D-B6A840749A89}" type="parTrans" cxnId="{82C4DE49-13F9-4858-A22F-D30E9D046A47}">
      <dgm:prSet/>
      <dgm:spPr/>
      <dgm:t>
        <a:bodyPr/>
        <a:lstStyle/>
        <a:p>
          <a:endParaRPr lang="en-US"/>
        </a:p>
      </dgm:t>
    </dgm:pt>
    <dgm:pt modelId="{0103660E-F48B-43E0-A359-1BB51FA9AEDE}" type="sibTrans" cxnId="{82C4DE49-13F9-4858-A22F-D30E9D046A47}">
      <dgm:prSet/>
      <dgm:spPr/>
      <dgm:t>
        <a:bodyPr/>
        <a:lstStyle/>
        <a:p>
          <a:endParaRPr lang="en-US"/>
        </a:p>
      </dgm:t>
    </dgm:pt>
    <dgm:pt modelId="{856730BF-8CF1-43DB-B3C3-C68896C1E575}">
      <dgm:prSet custT="1"/>
      <dgm:spPr>
        <a:solidFill>
          <a:schemeClr val="accent4">
            <a:lumMod val="75000"/>
          </a:schemeClr>
        </a:solidFill>
      </dgm:spPr>
      <dgm:t>
        <a:bodyPr/>
        <a:lstStyle/>
        <a:p>
          <a:pPr>
            <a:buFont typeface="Arial" panose="020B0604020202020204" pitchFamily="34" charset="0"/>
            <a:buChar char="•"/>
          </a:pPr>
          <a:r>
            <a:rPr lang="en-US" sz="3200">
              <a:solidFill>
                <a:schemeClr val="bg1"/>
              </a:solidFill>
            </a:rPr>
            <a:t>Performance Recommendations</a:t>
          </a:r>
          <a:endParaRPr lang="en-US" sz="3200" dirty="0">
            <a:solidFill>
              <a:schemeClr val="bg1"/>
            </a:solidFill>
          </a:endParaRPr>
        </a:p>
      </dgm:t>
    </dgm:pt>
    <dgm:pt modelId="{FC6DC972-6BC7-468A-A243-5C627B4FE0CA}" type="parTrans" cxnId="{B3FEE191-348A-4162-B6AC-4C17FBA2AAE0}">
      <dgm:prSet/>
      <dgm:spPr/>
      <dgm:t>
        <a:bodyPr/>
        <a:lstStyle/>
        <a:p>
          <a:endParaRPr lang="en-US"/>
        </a:p>
      </dgm:t>
    </dgm:pt>
    <dgm:pt modelId="{F3D12CCF-BCD6-4581-8236-BCB66B28CF8E}" type="sibTrans" cxnId="{B3FEE191-348A-4162-B6AC-4C17FBA2AAE0}">
      <dgm:prSet/>
      <dgm:spPr/>
      <dgm:t>
        <a:bodyPr/>
        <a:lstStyle/>
        <a:p>
          <a:endParaRPr lang="en-US"/>
        </a:p>
      </dgm:t>
    </dgm:pt>
    <dgm:pt modelId="{7B8D661C-C429-4847-8D59-201D56D1DB86}" type="pres">
      <dgm:prSet presAssocID="{E0727030-A103-47B3-9948-2C3FB6249167}" presName="linear" presStyleCnt="0">
        <dgm:presLayoutVars>
          <dgm:animLvl val="lvl"/>
          <dgm:resizeHandles val="exact"/>
        </dgm:presLayoutVars>
      </dgm:prSet>
      <dgm:spPr/>
    </dgm:pt>
    <dgm:pt modelId="{5E3CF3AD-1751-446E-A095-E91D1029D673}" type="pres">
      <dgm:prSet presAssocID="{0E1DD910-82B7-411B-86B9-779EC2DE4ABD}" presName="parentText" presStyleLbl="node1" presStyleIdx="0" presStyleCnt="3">
        <dgm:presLayoutVars>
          <dgm:chMax val="0"/>
          <dgm:bulletEnabled val="1"/>
        </dgm:presLayoutVars>
      </dgm:prSet>
      <dgm:spPr/>
    </dgm:pt>
    <dgm:pt modelId="{2EB30EA5-8E77-4B4D-AC5C-ACAD3FAADB55}" type="pres">
      <dgm:prSet presAssocID="{B6272E9F-8C73-47FA-A097-213295CCE98A}" presName="spacer" presStyleCnt="0"/>
      <dgm:spPr/>
    </dgm:pt>
    <dgm:pt modelId="{58F37BB0-4A03-455D-9540-E03675516ACF}" type="pres">
      <dgm:prSet presAssocID="{856730BF-8CF1-43DB-B3C3-C68896C1E575}" presName="parentText" presStyleLbl="node1" presStyleIdx="1" presStyleCnt="3">
        <dgm:presLayoutVars>
          <dgm:chMax val="0"/>
          <dgm:bulletEnabled val="1"/>
        </dgm:presLayoutVars>
      </dgm:prSet>
      <dgm:spPr/>
    </dgm:pt>
    <dgm:pt modelId="{A6DA5696-71EA-4E50-9AB0-592262389260}" type="pres">
      <dgm:prSet presAssocID="{F3D12CCF-BCD6-4581-8236-BCB66B28CF8E}" presName="spacer" presStyleCnt="0"/>
      <dgm:spPr/>
    </dgm:pt>
    <dgm:pt modelId="{CA65A80A-0432-45C9-AD87-4823DF43F9DD}" type="pres">
      <dgm:prSet presAssocID="{31806E39-DA97-4FE6-BCC1-CE510A1766B0}" presName="parentText" presStyleLbl="node1" presStyleIdx="2" presStyleCnt="3">
        <dgm:presLayoutVars>
          <dgm:chMax val="0"/>
          <dgm:bulletEnabled val="1"/>
        </dgm:presLayoutVars>
      </dgm:prSet>
      <dgm:spPr/>
    </dgm:pt>
  </dgm:ptLst>
  <dgm:cxnLst>
    <dgm:cxn modelId="{8AFD7467-74F5-4E35-B515-4628D9DA31DE}" type="presOf" srcId="{0E1DD910-82B7-411B-86B9-779EC2DE4ABD}" destId="{5E3CF3AD-1751-446E-A095-E91D1029D673}" srcOrd="0" destOrd="0" presId="urn:microsoft.com/office/officeart/2005/8/layout/vList2"/>
    <dgm:cxn modelId="{82C4DE49-13F9-4858-A22F-D30E9D046A47}" srcId="{E0727030-A103-47B3-9948-2C3FB6249167}" destId="{31806E39-DA97-4FE6-BCC1-CE510A1766B0}" srcOrd="2" destOrd="0" parTransId="{0855E89E-E2F9-49AF-A74D-B6A840749A89}" sibTransId="{0103660E-F48B-43E0-A359-1BB51FA9AEDE}"/>
    <dgm:cxn modelId="{8F6F418E-092A-4C74-BC53-F0A2C32DA18D}" type="presOf" srcId="{856730BF-8CF1-43DB-B3C3-C68896C1E575}" destId="{58F37BB0-4A03-455D-9540-E03675516ACF}" srcOrd="0" destOrd="0" presId="urn:microsoft.com/office/officeart/2005/8/layout/vList2"/>
    <dgm:cxn modelId="{B3FEE191-348A-4162-B6AC-4C17FBA2AAE0}" srcId="{E0727030-A103-47B3-9948-2C3FB6249167}" destId="{856730BF-8CF1-43DB-B3C3-C68896C1E575}" srcOrd="1" destOrd="0" parTransId="{FC6DC972-6BC7-468A-A243-5C627B4FE0CA}" sibTransId="{F3D12CCF-BCD6-4581-8236-BCB66B28CF8E}"/>
    <dgm:cxn modelId="{1AF7F9CE-8F94-4D3F-BAF2-C3C12662D4E0}" srcId="{E0727030-A103-47B3-9948-2C3FB6249167}" destId="{0E1DD910-82B7-411B-86B9-779EC2DE4ABD}" srcOrd="0" destOrd="0" parTransId="{2A74FAF1-0C25-4177-A263-A3087463B3AC}" sibTransId="{B6272E9F-8C73-47FA-A097-213295CCE98A}"/>
    <dgm:cxn modelId="{32D083F5-7DBA-4672-8DD0-5140776D313A}" type="presOf" srcId="{E0727030-A103-47B3-9948-2C3FB6249167}" destId="{7B8D661C-C429-4847-8D59-201D56D1DB86}" srcOrd="0" destOrd="0" presId="urn:microsoft.com/office/officeart/2005/8/layout/vList2"/>
    <dgm:cxn modelId="{CF8141F9-3DB4-4C3A-B09E-A603C1EC9004}" type="presOf" srcId="{31806E39-DA97-4FE6-BCC1-CE510A1766B0}" destId="{CA65A80A-0432-45C9-AD87-4823DF43F9DD}" srcOrd="0" destOrd="0" presId="urn:microsoft.com/office/officeart/2005/8/layout/vList2"/>
    <dgm:cxn modelId="{5B2FE1FE-1E96-4ED4-9208-4BE3766DDAEA}" type="presParOf" srcId="{7B8D661C-C429-4847-8D59-201D56D1DB86}" destId="{5E3CF3AD-1751-446E-A095-E91D1029D673}" srcOrd="0" destOrd="0" presId="urn:microsoft.com/office/officeart/2005/8/layout/vList2"/>
    <dgm:cxn modelId="{2ACD0AE0-0EC3-485D-A9FE-BED881F7C778}" type="presParOf" srcId="{7B8D661C-C429-4847-8D59-201D56D1DB86}" destId="{2EB30EA5-8E77-4B4D-AC5C-ACAD3FAADB55}" srcOrd="1" destOrd="0" presId="urn:microsoft.com/office/officeart/2005/8/layout/vList2"/>
    <dgm:cxn modelId="{946386A4-17F8-4407-A5B0-D5991CE0C656}" type="presParOf" srcId="{7B8D661C-C429-4847-8D59-201D56D1DB86}" destId="{58F37BB0-4A03-455D-9540-E03675516ACF}" srcOrd="2" destOrd="0" presId="urn:microsoft.com/office/officeart/2005/8/layout/vList2"/>
    <dgm:cxn modelId="{DF13D44A-DB05-4929-93B7-600EDB66B7B8}" type="presParOf" srcId="{7B8D661C-C429-4847-8D59-201D56D1DB86}" destId="{A6DA5696-71EA-4E50-9AB0-592262389260}" srcOrd="3" destOrd="0" presId="urn:microsoft.com/office/officeart/2005/8/layout/vList2"/>
    <dgm:cxn modelId="{3490A22F-DC41-43AA-8DC6-B2CDE8775B4B}" type="presParOf" srcId="{7B8D661C-C429-4847-8D59-201D56D1DB86}" destId="{CA65A80A-0432-45C9-AD87-4823DF43F9D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B8622A5-D47F-4142-905C-506605D553AC}"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72ED19BC-41A8-4E48-858F-D81377BDD65B}">
      <dgm:prSet custT="1"/>
      <dgm:spPr/>
      <dgm:t>
        <a:bodyPr/>
        <a:lstStyle/>
        <a:p>
          <a:r>
            <a:rPr lang="en-US" sz="1800" baseline="0" dirty="0"/>
            <a:t>Retention Policy</a:t>
          </a:r>
          <a:endParaRPr lang="en-US" sz="1800" dirty="0"/>
        </a:p>
      </dgm:t>
    </dgm:pt>
    <dgm:pt modelId="{A1DCABA9-CBAF-49BF-AE22-57224440284E}" type="parTrans" cxnId="{12B57735-3328-4BC6-B5FD-A2A5A7F33A5B}">
      <dgm:prSet/>
      <dgm:spPr/>
      <dgm:t>
        <a:bodyPr/>
        <a:lstStyle/>
        <a:p>
          <a:endParaRPr lang="en-US"/>
        </a:p>
      </dgm:t>
    </dgm:pt>
    <dgm:pt modelId="{BE0918B9-741C-40CC-B430-C43229DE9A81}" type="sibTrans" cxnId="{12B57735-3328-4BC6-B5FD-A2A5A7F33A5B}">
      <dgm:prSet/>
      <dgm:spPr/>
      <dgm:t>
        <a:bodyPr/>
        <a:lstStyle/>
        <a:p>
          <a:endParaRPr lang="en-US"/>
        </a:p>
      </dgm:t>
    </dgm:pt>
    <dgm:pt modelId="{A32CAE19-825F-4F7E-A3FD-261DD4BFF73D}">
      <dgm:prSet custT="1"/>
      <dgm:spPr/>
      <dgm:t>
        <a:bodyPr/>
        <a:lstStyle/>
        <a:p>
          <a:r>
            <a:rPr lang="en-US" sz="1800" baseline="0" dirty="0"/>
            <a:t>Size based – Auto cleanup when near max size.</a:t>
          </a:r>
          <a:endParaRPr lang="en-US" sz="1800" dirty="0"/>
        </a:p>
      </dgm:t>
    </dgm:pt>
    <dgm:pt modelId="{E8EDA495-3569-4340-AA77-1C818B538467}" type="parTrans" cxnId="{5F260025-084D-4D4D-8AAD-33051250355F}">
      <dgm:prSet/>
      <dgm:spPr/>
      <dgm:t>
        <a:bodyPr/>
        <a:lstStyle/>
        <a:p>
          <a:endParaRPr lang="en-US"/>
        </a:p>
      </dgm:t>
    </dgm:pt>
    <dgm:pt modelId="{9CACF129-6D18-41F2-B0FF-73C0D46F48FB}" type="sibTrans" cxnId="{5F260025-084D-4D4D-8AAD-33051250355F}">
      <dgm:prSet/>
      <dgm:spPr/>
      <dgm:t>
        <a:bodyPr/>
        <a:lstStyle/>
        <a:p>
          <a:endParaRPr lang="en-US"/>
        </a:p>
      </dgm:t>
    </dgm:pt>
    <dgm:pt modelId="{CD905088-611B-42EA-AE48-0746936E528E}">
      <dgm:prSet custT="1"/>
      <dgm:spPr/>
      <dgm:t>
        <a:bodyPr/>
        <a:lstStyle/>
        <a:p>
          <a:r>
            <a:rPr lang="en-US" sz="1800" baseline="0" dirty="0"/>
            <a:t>Time based – Default 30 days.</a:t>
          </a:r>
          <a:endParaRPr lang="en-US" sz="1800" dirty="0"/>
        </a:p>
      </dgm:t>
    </dgm:pt>
    <dgm:pt modelId="{B3A67881-3199-490A-A237-4D053C14426E}" type="parTrans" cxnId="{80BDD440-93BC-4B21-9FFA-CF6E4C567225}">
      <dgm:prSet/>
      <dgm:spPr/>
      <dgm:t>
        <a:bodyPr/>
        <a:lstStyle/>
        <a:p>
          <a:endParaRPr lang="en-US"/>
        </a:p>
      </dgm:t>
    </dgm:pt>
    <dgm:pt modelId="{0FDB519A-A0D6-4040-B2D1-228C48C438B7}" type="sibTrans" cxnId="{80BDD440-93BC-4B21-9FFA-CF6E4C567225}">
      <dgm:prSet/>
      <dgm:spPr/>
      <dgm:t>
        <a:bodyPr/>
        <a:lstStyle/>
        <a:p>
          <a:endParaRPr lang="en-US"/>
        </a:p>
      </dgm:t>
    </dgm:pt>
    <dgm:pt modelId="{2617B850-54C3-4A7F-9C7A-508876C6A022}">
      <dgm:prSet custT="1"/>
      <dgm:spPr/>
      <dgm:t>
        <a:bodyPr/>
        <a:lstStyle/>
        <a:p>
          <a:r>
            <a:rPr lang="en-US" sz="1800" baseline="0" dirty="0"/>
            <a:t>Max Plans Per Query – Default 200.</a:t>
          </a:r>
          <a:endParaRPr lang="en-US" sz="1800" dirty="0"/>
        </a:p>
      </dgm:t>
    </dgm:pt>
    <dgm:pt modelId="{1DD349D1-C56B-496B-BDA9-FC4106E20D7A}" type="parTrans" cxnId="{1CB956F6-35B5-4CBD-8035-48EEE430CC97}">
      <dgm:prSet/>
      <dgm:spPr/>
      <dgm:t>
        <a:bodyPr/>
        <a:lstStyle/>
        <a:p>
          <a:endParaRPr lang="en-US"/>
        </a:p>
      </dgm:t>
    </dgm:pt>
    <dgm:pt modelId="{550B777F-AE35-4F61-AA3A-6CE5353C1FEB}" type="sibTrans" cxnId="{1CB956F6-35B5-4CBD-8035-48EEE430CC97}">
      <dgm:prSet/>
      <dgm:spPr/>
      <dgm:t>
        <a:bodyPr/>
        <a:lstStyle/>
        <a:p>
          <a:endParaRPr lang="en-US"/>
        </a:p>
      </dgm:t>
    </dgm:pt>
    <dgm:pt modelId="{9BD28136-DBCF-4268-80D2-BDD5FD38DB35}">
      <dgm:prSet custT="1"/>
      <dgm:spPr/>
      <dgm:t>
        <a:bodyPr/>
        <a:lstStyle/>
        <a:p>
          <a:r>
            <a:rPr lang="en-US" sz="1800" baseline="0" dirty="0"/>
            <a:t>Wait Statistics Capture Mode – Default On.</a:t>
          </a:r>
          <a:endParaRPr lang="en-US" sz="1800" dirty="0"/>
        </a:p>
      </dgm:t>
    </dgm:pt>
    <dgm:pt modelId="{90EF7BAD-150A-485C-ADA9-97F87F9BF2D1}" type="parTrans" cxnId="{2D7F1CDD-F305-4B79-875C-92361E19D6F9}">
      <dgm:prSet/>
      <dgm:spPr/>
      <dgm:t>
        <a:bodyPr/>
        <a:lstStyle/>
        <a:p>
          <a:endParaRPr lang="en-US"/>
        </a:p>
      </dgm:t>
    </dgm:pt>
    <dgm:pt modelId="{F375100F-884B-4293-8C71-A1E2DDD58670}" type="sibTrans" cxnId="{2D7F1CDD-F305-4B79-875C-92361E19D6F9}">
      <dgm:prSet/>
      <dgm:spPr/>
      <dgm:t>
        <a:bodyPr/>
        <a:lstStyle/>
        <a:p>
          <a:endParaRPr lang="en-US"/>
        </a:p>
      </dgm:t>
    </dgm:pt>
    <dgm:pt modelId="{60727134-C1F9-4823-888B-AE5574F1C14D}">
      <dgm:prSet custT="1"/>
      <dgm:spPr/>
      <dgm:t>
        <a:bodyPr/>
        <a:lstStyle/>
        <a:p>
          <a:r>
            <a:rPr lang="en-US" sz="1800" baseline="0"/>
            <a:t>Capture Policy</a:t>
          </a:r>
          <a:endParaRPr lang="en-US" sz="1800"/>
        </a:p>
      </dgm:t>
    </dgm:pt>
    <dgm:pt modelId="{A95F09A9-E9F5-426D-B2DC-B330F4CDF565}" type="parTrans" cxnId="{A03024C1-3C87-40B6-83F8-E65B788A438C}">
      <dgm:prSet/>
      <dgm:spPr/>
      <dgm:t>
        <a:bodyPr/>
        <a:lstStyle/>
        <a:p>
          <a:endParaRPr lang="en-US"/>
        </a:p>
      </dgm:t>
    </dgm:pt>
    <dgm:pt modelId="{ED4D6C0B-6AE7-4557-94F2-9B388E854ABC}" type="sibTrans" cxnId="{A03024C1-3C87-40B6-83F8-E65B788A438C}">
      <dgm:prSet/>
      <dgm:spPr/>
      <dgm:t>
        <a:bodyPr/>
        <a:lstStyle/>
        <a:p>
          <a:endParaRPr lang="en-US"/>
        </a:p>
      </dgm:t>
    </dgm:pt>
    <dgm:pt modelId="{4C1EF136-F23C-4B5B-97BE-D2E21F75C562}">
      <dgm:prSet custT="1"/>
      <dgm:spPr/>
      <dgm:t>
        <a:bodyPr/>
        <a:lstStyle/>
        <a:p>
          <a:r>
            <a:rPr lang="en-US" sz="1800" baseline="0" dirty="0"/>
            <a:t>All – Captures all queries.</a:t>
          </a:r>
          <a:endParaRPr lang="en-US" sz="1800" dirty="0"/>
        </a:p>
      </dgm:t>
    </dgm:pt>
    <dgm:pt modelId="{229D029B-CD0D-4554-956D-A4C302B3E234}" type="parTrans" cxnId="{19032FD8-3C88-4D9E-BA7A-FABC7384A82C}">
      <dgm:prSet/>
      <dgm:spPr/>
      <dgm:t>
        <a:bodyPr/>
        <a:lstStyle/>
        <a:p>
          <a:endParaRPr lang="en-US"/>
        </a:p>
      </dgm:t>
    </dgm:pt>
    <dgm:pt modelId="{BC0DA5B6-22B7-4336-9D45-00944D89D950}" type="sibTrans" cxnId="{19032FD8-3C88-4D9E-BA7A-FABC7384A82C}">
      <dgm:prSet/>
      <dgm:spPr/>
      <dgm:t>
        <a:bodyPr/>
        <a:lstStyle/>
        <a:p>
          <a:endParaRPr lang="en-US"/>
        </a:p>
      </dgm:t>
    </dgm:pt>
    <dgm:pt modelId="{D2D859F2-A963-4B2A-97C1-9E45D617310B}">
      <dgm:prSet custT="1"/>
      <dgm:spPr/>
      <dgm:t>
        <a:bodyPr/>
        <a:lstStyle/>
        <a:p>
          <a:r>
            <a:rPr lang="en-US" sz="1800" baseline="0" dirty="0"/>
            <a:t>Auto – Infrequent queries are ignored.</a:t>
          </a:r>
          <a:endParaRPr lang="en-US" sz="1800" dirty="0"/>
        </a:p>
      </dgm:t>
    </dgm:pt>
    <dgm:pt modelId="{0A685736-C57A-451A-B8A9-D809441F8ABB}" type="parTrans" cxnId="{0A6983EC-FB5D-4078-9A4B-FEC7893F5F3C}">
      <dgm:prSet/>
      <dgm:spPr/>
      <dgm:t>
        <a:bodyPr/>
        <a:lstStyle/>
        <a:p>
          <a:endParaRPr lang="en-US"/>
        </a:p>
      </dgm:t>
    </dgm:pt>
    <dgm:pt modelId="{F4CE8930-62F4-4DDB-8D66-3BC451038835}" type="sibTrans" cxnId="{0A6983EC-FB5D-4078-9A4B-FEC7893F5F3C}">
      <dgm:prSet/>
      <dgm:spPr/>
      <dgm:t>
        <a:bodyPr/>
        <a:lstStyle/>
        <a:p>
          <a:endParaRPr lang="en-US"/>
        </a:p>
      </dgm:t>
    </dgm:pt>
    <dgm:pt modelId="{C43E6677-7A61-4D22-ADF2-6DBE82078AE8}">
      <dgm:prSet custT="1"/>
      <dgm:spPr/>
      <dgm:t>
        <a:bodyPr/>
        <a:lstStyle/>
        <a:p>
          <a:r>
            <a:rPr lang="en-US" sz="1800" baseline="0" dirty="0"/>
            <a:t>None – No queries are captured.</a:t>
          </a:r>
          <a:endParaRPr lang="en-US" sz="1800" dirty="0"/>
        </a:p>
      </dgm:t>
    </dgm:pt>
    <dgm:pt modelId="{1458391D-8938-4D8C-8E97-EAD199B209F0}" type="parTrans" cxnId="{BD461629-C61D-45BE-9966-AA3899A477B9}">
      <dgm:prSet/>
      <dgm:spPr/>
      <dgm:t>
        <a:bodyPr/>
        <a:lstStyle/>
        <a:p>
          <a:endParaRPr lang="en-US"/>
        </a:p>
      </dgm:t>
    </dgm:pt>
    <dgm:pt modelId="{6F49BE19-DAA8-4444-BB7F-8A3252D773D0}" type="sibTrans" cxnId="{BD461629-C61D-45BE-9966-AA3899A477B9}">
      <dgm:prSet/>
      <dgm:spPr/>
      <dgm:t>
        <a:bodyPr/>
        <a:lstStyle/>
        <a:p>
          <a:endParaRPr lang="en-US"/>
        </a:p>
      </dgm:t>
    </dgm:pt>
    <dgm:pt modelId="{231E844C-8D60-4A42-9C88-A824598A3842}">
      <dgm:prSet custT="1"/>
      <dgm:spPr/>
      <dgm:t>
        <a:bodyPr/>
        <a:lstStyle/>
        <a:p>
          <a:r>
            <a:rPr lang="en-US" sz="1800" baseline="0" dirty="0"/>
            <a:t>Custom – Advanced Options</a:t>
          </a:r>
          <a:endParaRPr lang="en-US" sz="1800" dirty="0"/>
        </a:p>
      </dgm:t>
    </dgm:pt>
    <dgm:pt modelId="{A1BF31BB-74CC-415C-A126-3FDC41BCFCBD}" type="parTrans" cxnId="{BDD778A4-C27A-4078-98A2-D9D209CEB7D5}">
      <dgm:prSet/>
      <dgm:spPr/>
      <dgm:t>
        <a:bodyPr/>
        <a:lstStyle/>
        <a:p>
          <a:endParaRPr lang="en-US"/>
        </a:p>
      </dgm:t>
    </dgm:pt>
    <dgm:pt modelId="{30D74F57-2ECC-4068-8BF0-BE22D00DF2F5}" type="sibTrans" cxnId="{BDD778A4-C27A-4078-98A2-D9D209CEB7D5}">
      <dgm:prSet/>
      <dgm:spPr/>
      <dgm:t>
        <a:bodyPr/>
        <a:lstStyle/>
        <a:p>
          <a:endParaRPr lang="en-US"/>
        </a:p>
      </dgm:t>
    </dgm:pt>
    <dgm:pt modelId="{0BB3A628-DB66-4DDF-AD0D-30AE11B1CD5C}" type="pres">
      <dgm:prSet presAssocID="{CB8622A5-D47F-4142-905C-506605D553AC}" presName="linear" presStyleCnt="0">
        <dgm:presLayoutVars>
          <dgm:dir/>
          <dgm:animLvl val="lvl"/>
          <dgm:resizeHandles val="exact"/>
        </dgm:presLayoutVars>
      </dgm:prSet>
      <dgm:spPr/>
    </dgm:pt>
    <dgm:pt modelId="{90791843-F03F-49ED-98BB-A274A72D7632}" type="pres">
      <dgm:prSet presAssocID="{72ED19BC-41A8-4E48-858F-D81377BDD65B}" presName="parentLin" presStyleCnt="0"/>
      <dgm:spPr/>
    </dgm:pt>
    <dgm:pt modelId="{355B4143-851B-43FA-B213-C84105E53948}" type="pres">
      <dgm:prSet presAssocID="{72ED19BC-41A8-4E48-858F-D81377BDD65B}" presName="parentLeftMargin" presStyleLbl="node1" presStyleIdx="0" presStyleCnt="2"/>
      <dgm:spPr/>
    </dgm:pt>
    <dgm:pt modelId="{E86E16E5-570D-433C-87BB-CA51932D4F36}" type="pres">
      <dgm:prSet presAssocID="{72ED19BC-41A8-4E48-858F-D81377BDD65B}" presName="parentText" presStyleLbl="node1" presStyleIdx="0" presStyleCnt="2">
        <dgm:presLayoutVars>
          <dgm:chMax val="0"/>
          <dgm:bulletEnabled val="1"/>
        </dgm:presLayoutVars>
      </dgm:prSet>
      <dgm:spPr/>
    </dgm:pt>
    <dgm:pt modelId="{91A41C2A-21F9-4CB1-AECE-1916D378B63F}" type="pres">
      <dgm:prSet presAssocID="{72ED19BC-41A8-4E48-858F-D81377BDD65B}" presName="negativeSpace" presStyleCnt="0"/>
      <dgm:spPr/>
    </dgm:pt>
    <dgm:pt modelId="{CA45F35A-9B31-4B28-8BB2-A1D6C2C25B74}" type="pres">
      <dgm:prSet presAssocID="{72ED19BC-41A8-4E48-858F-D81377BDD65B}" presName="childText" presStyleLbl="conFgAcc1" presStyleIdx="0" presStyleCnt="2">
        <dgm:presLayoutVars>
          <dgm:bulletEnabled val="1"/>
        </dgm:presLayoutVars>
      </dgm:prSet>
      <dgm:spPr/>
    </dgm:pt>
    <dgm:pt modelId="{5CA7E4D3-3D21-44AB-B58B-FBCF7866E8CA}" type="pres">
      <dgm:prSet presAssocID="{BE0918B9-741C-40CC-B430-C43229DE9A81}" presName="spaceBetweenRectangles" presStyleCnt="0"/>
      <dgm:spPr/>
    </dgm:pt>
    <dgm:pt modelId="{64D7A2CD-E3D6-410E-B04D-CF6AEAA4DE8D}" type="pres">
      <dgm:prSet presAssocID="{60727134-C1F9-4823-888B-AE5574F1C14D}" presName="parentLin" presStyleCnt="0"/>
      <dgm:spPr/>
    </dgm:pt>
    <dgm:pt modelId="{E12CA147-403B-4034-A377-B8126095452D}" type="pres">
      <dgm:prSet presAssocID="{60727134-C1F9-4823-888B-AE5574F1C14D}" presName="parentLeftMargin" presStyleLbl="node1" presStyleIdx="0" presStyleCnt="2"/>
      <dgm:spPr/>
    </dgm:pt>
    <dgm:pt modelId="{1708D1DF-206F-47BD-91F2-9E1973FCF89B}" type="pres">
      <dgm:prSet presAssocID="{60727134-C1F9-4823-888B-AE5574F1C14D}" presName="parentText" presStyleLbl="node1" presStyleIdx="1" presStyleCnt="2">
        <dgm:presLayoutVars>
          <dgm:chMax val="0"/>
          <dgm:bulletEnabled val="1"/>
        </dgm:presLayoutVars>
      </dgm:prSet>
      <dgm:spPr/>
    </dgm:pt>
    <dgm:pt modelId="{A52F0464-C828-43F0-983C-57C19DD85EE9}" type="pres">
      <dgm:prSet presAssocID="{60727134-C1F9-4823-888B-AE5574F1C14D}" presName="negativeSpace" presStyleCnt="0"/>
      <dgm:spPr/>
    </dgm:pt>
    <dgm:pt modelId="{636F49B1-C17D-4243-870F-A8EA509E93B7}" type="pres">
      <dgm:prSet presAssocID="{60727134-C1F9-4823-888B-AE5574F1C14D}" presName="childText" presStyleLbl="conFgAcc1" presStyleIdx="1" presStyleCnt="2">
        <dgm:presLayoutVars>
          <dgm:bulletEnabled val="1"/>
        </dgm:presLayoutVars>
      </dgm:prSet>
      <dgm:spPr/>
    </dgm:pt>
  </dgm:ptLst>
  <dgm:cxnLst>
    <dgm:cxn modelId="{28C93A06-716A-4887-B6B4-F018F2AC2502}" type="presOf" srcId="{4C1EF136-F23C-4B5B-97BE-D2E21F75C562}" destId="{636F49B1-C17D-4243-870F-A8EA509E93B7}" srcOrd="0" destOrd="0" presId="urn:microsoft.com/office/officeart/2005/8/layout/list1"/>
    <dgm:cxn modelId="{05857D18-9A59-4BCB-AF82-3F6684D84E29}" type="presOf" srcId="{CB8622A5-D47F-4142-905C-506605D553AC}" destId="{0BB3A628-DB66-4DDF-AD0D-30AE11B1CD5C}" srcOrd="0" destOrd="0" presId="urn:microsoft.com/office/officeart/2005/8/layout/list1"/>
    <dgm:cxn modelId="{D2C9E219-EB89-4F1C-8E66-1001B994EB4A}" type="presOf" srcId="{60727134-C1F9-4823-888B-AE5574F1C14D}" destId="{1708D1DF-206F-47BD-91F2-9E1973FCF89B}" srcOrd="1" destOrd="0" presId="urn:microsoft.com/office/officeart/2005/8/layout/list1"/>
    <dgm:cxn modelId="{5F260025-084D-4D4D-8AAD-33051250355F}" srcId="{72ED19BC-41A8-4E48-858F-D81377BDD65B}" destId="{A32CAE19-825F-4F7E-A3FD-261DD4BFF73D}" srcOrd="0" destOrd="0" parTransId="{E8EDA495-3569-4340-AA77-1C818B538467}" sibTransId="{9CACF129-6D18-41F2-B0FF-73C0D46F48FB}"/>
    <dgm:cxn modelId="{B97D6225-7ACC-4601-9BA9-4A4A50050C4D}" type="presOf" srcId="{9BD28136-DBCF-4268-80D2-BDD5FD38DB35}" destId="{CA45F35A-9B31-4B28-8BB2-A1D6C2C25B74}" srcOrd="0" destOrd="3" presId="urn:microsoft.com/office/officeart/2005/8/layout/list1"/>
    <dgm:cxn modelId="{BD461629-C61D-45BE-9966-AA3899A477B9}" srcId="{60727134-C1F9-4823-888B-AE5574F1C14D}" destId="{C43E6677-7A61-4D22-ADF2-6DBE82078AE8}" srcOrd="2" destOrd="0" parTransId="{1458391D-8938-4D8C-8E97-EAD199B209F0}" sibTransId="{6F49BE19-DAA8-4444-BB7F-8A3252D773D0}"/>
    <dgm:cxn modelId="{12B57735-3328-4BC6-B5FD-A2A5A7F33A5B}" srcId="{CB8622A5-D47F-4142-905C-506605D553AC}" destId="{72ED19BC-41A8-4E48-858F-D81377BDD65B}" srcOrd="0" destOrd="0" parTransId="{A1DCABA9-CBAF-49BF-AE22-57224440284E}" sibTransId="{BE0918B9-741C-40CC-B430-C43229DE9A81}"/>
    <dgm:cxn modelId="{80BDD440-93BC-4B21-9FFA-CF6E4C567225}" srcId="{72ED19BC-41A8-4E48-858F-D81377BDD65B}" destId="{CD905088-611B-42EA-AE48-0746936E528E}" srcOrd="1" destOrd="0" parTransId="{B3A67881-3199-490A-A237-4D053C14426E}" sibTransId="{0FDB519A-A0D6-4040-B2D1-228C48C438B7}"/>
    <dgm:cxn modelId="{B8B53559-819E-4F67-A336-D8C6E387A1DB}" type="presOf" srcId="{CD905088-611B-42EA-AE48-0746936E528E}" destId="{CA45F35A-9B31-4B28-8BB2-A1D6C2C25B74}" srcOrd="0" destOrd="1" presId="urn:microsoft.com/office/officeart/2005/8/layout/list1"/>
    <dgm:cxn modelId="{FE902788-B474-4068-8C5C-9B25CE51B0CF}" type="presOf" srcId="{60727134-C1F9-4823-888B-AE5574F1C14D}" destId="{E12CA147-403B-4034-A377-B8126095452D}" srcOrd="0" destOrd="0" presId="urn:microsoft.com/office/officeart/2005/8/layout/list1"/>
    <dgm:cxn modelId="{90BFF989-AB5D-49DE-9E1E-9BDA0F9F87E7}" type="presOf" srcId="{2617B850-54C3-4A7F-9C7A-508876C6A022}" destId="{CA45F35A-9B31-4B28-8BB2-A1D6C2C25B74}" srcOrd="0" destOrd="2" presId="urn:microsoft.com/office/officeart/2005/8/layout/list1"/>
    <dgm:cxn modelId="{A75072A0-8274-4181-AA9E-52DFB4E1C8B1}" type="presOf" srcId="{C43E6677-7A61-4D22-ADF2-6DBE82078AE8}" destId="{636F49B1-C17D-4243-870F-A8EA509E93B7}" srcOrd="0" destOrd="2" presId="urn:microsoft.com/office/officeart/2005/8/layout/list1"/>
    <dgm:cxn modelId="{27A6B2A2-7F92-4289-89D3-E438042BBE78}" type="presOf" srcId="{72ED19BC-41A8-4E48-858F-D81377BDD65B}" destId="{355B4143-851B-43FA-B213-C84105E53948}" srcOrd="0" destOrd="0" presId="urn:microsoft.com/office/officeart/2005/8/layout/list1"/>
    <dgm:cxn modelId="{BDD778A4-C27A-4078-98A2-D9D209CEB7D5}" srcId="{60727134-C1F9-4823-888B-AE5574F1C14D}" destId="{231E844C-8D60-4A42-9C88-A824598A3842}" srcOrd="3" destOrd="0" parTransId="{A1BF31BB-74CC-415C-A126-3FDC41BCFCBD}" sibTransId="{30D74F57-2ECC-4068-8BF0-BE22D00DF2F5}"/>
    <dgm:cxn modelId="{AEEEC7A6-B479-4100-B34F-8EE40E9E46A0}" type="presOf" srcId="{231E844C-8D60-4A42-9C88-A824598A3842}" destId="{636F49B1-C17D-4243-870F-A8EA509E93B7}" srcOrd="0" destOrd="3" presId="urn:microsoft.com/office/officeart/2005/8/layout/list1"/>
    <dgm:cxn modelId="{A03024C1-3C87-40B6-83F8-E65B788A438C}" srcId="{CB8622A5-D47F-4142-905C-506605D553AC}" destId="{60727134-C1F9-4823-888B-AE5574F1C14D}" srcOrd="1" destOrd="0" parTransId="{A95F09A9-E9F5-426D-B2DC-B330F4CDF565}" sibTransId="{ED4D6C0B-6AE7-4557-94F2-9B388E854ABC}"/>
    <dgm:cxn modelId="{8B4FFDC8-C0CF-4586-99C0-387984663316}" type="presOf" srcId="{72ED19BC-41A8-4E48-858F-D81377BDD65B}" destId="{E86E16E5-570D-433C-87BB-CA51932D4F36}" srcOrd="1" destOrd="0" presId="urn:microsoft.com/office/officeart/2005/8/layout/list1"/>
    <dgm:cxn modelId="{6C250FD1-7914-437B-942D-DE5BF9E56DE2}" type="presOf" srcId="{A32CAE19-825F-4F7E-A3FD-261DD4BFF73D}" destId="{CA45F35A-9B31-4B28-8BB2-A1D6C2C25B74}" srcOrd="0" destOrd="0" presId="urn:microsoft.com/office/officeart/2005/8/layout/list1"/>
    <dgm:cxn modelId="{19032FD8-3C88-4D9E-BA7A-FABC7384A82C}" srcId="{60727134-C1F9-4823-888B-AE5574F1C14D}" destId="{4C1EF136-F23C-4B5B-97BE-D2E21F75C562}" srcOrd="0" destOrd="0" parTransId="{229D029B-CD0D-4554-956D-A4C302B3E234}" sibTransId="{BC0DA5B6-22B7-4336-9D45-00944D89D950}"/>
    <dgm:cxn modelId="{2D7F1CDD-F305-4B79-875C-92361E19D6F9}" srcId="{72ED19BC-41A8-4E48-858F-D81377BDD65B}" destId="{9BD28136-DBCF-4268-80D2-BDD5FD38DB35}" srcOrd="3" destOrd="0" parTransId="{90EF7BAD-150A-485C-ADA9-97F87F9BF2D1}" sibTransId="{F375100F-884B-4293-8C71-A1E2DDD58670}"/>
    <dgm:cxn modelId="{0A6983EC-FB5D-4078-9A4B-FEC7893F5F3C}" srcId="{60727134-C1F9-4823-888B-AE5574F1C14D}" destId="{D2D859F2-A963-4B2A-97C1-9E45D617310B}" srcOrd="1" destOrd="0" parTransId="{0A685736-C57A-451A-B8A9-D809441F8ABB}" sibTransId="{F4CE8930-62F4-4DDB-8D66-3BC451038835}"/>
    <dgm:cxn modelId="{6045DFF0-E944-450F-8B55-A55F3DDCAAAE}" type="presOf" srcId="{D2D859F2-A963-4B2A-97C1-9E45D617310B}" destId="{636F49B1-C17D-4243-870F-A8EA509E93B7}" srcOrd="0" destOrd="1" presId="urn:microsoft.com/office/officeart/2005/8/layout/list1"/>
    <dgm:cxn modelId="{1CB956F6-35B5-4CBD-8035-48EEE430CC97}" srcId="{72ED19BC-41A8-4E48-858F-D81377BDD65B}" destId="{2617B850-54C3-4A7F-9C7A-508876C6A022}" srcOrd="2" destOrd="0" parTransId="{1DD349D1-C56B-496B-BDA9-FC4106E20D7A}" sibTransId="{550B777F-AE35-4F61-AA3A-6CE5353C1FEB}"/>
    <dgm:cxn modelId="{4ECE402D-D8B5-4877-96F6-B5514542E60C}" type="presParOf" srcId="{0BB3A628-DB66-4DDF-AD0D-30AE11B1CD5C}" destId="{90791843-F03F-49ED-98BB-A274A72D7632}" srcOrd="0" destOrd="0" presId="urn:microsoft.com/office/officeart/2005/8/layout/list1"/>
    <dgm:cxn modelId="{A7B49BB0-166F-487B-91F7-69DD198DED5A}" type="presParOf" srcId="{90791843-F03F-49ED-98BB-A274A72D7632}" destId="{355B4143-851B-43FA-B213-C84105E53948}" srcOrd="0" destOrd="0" presId="urn:microsoft.com/office/officeart/2005/8/layout/list1"/>
    <dgm:cxn modelId="{F9EE47F4-91C9-4E05-B5C0-074074400801}" type="presParOf" srcId="{90791843-F03F-49ED-98BB-A274A72D7632}" destId="{E86E16E5-570D-433C-87BB-CA51932D4F36}" srcOrd="1" destOrd="0" presId="urn:microsoft.com/office/officeart/2005/8/layout/list1"/>
    <dgm:cxn modelId="{24DD81D2-778E-429F-9550-4E1A171B9119}" type="presParOf" srcId="{0BB3A628-DB66-4DDF-AD0D-30AE11B1CD5C}" destId="{91A41C2A-21F9-4CB1-AECE-1916D378B63F}" srcOrd="1" destOrd="0" presId="urn:microsoft.com/office/officeart/2005/8/layout/list1"/>
    <dgm:cxn modelId="{39F64CEB-F88C-4D16-9928-6225820F01E7}" type="presParOf" srcId="{0BB3A628-DB66-4DDF-AD0D-30AE11B1CD5C}" destId="{CA45F35A-9B31-4B28-8BB2-A1D6C2C25B74}" srcOrd="2" destOrd="0" presId="urn:microsoft.com/office/officeart/2005/8/layout/list1"/>
    <dgm:cxn modelId="{EA704A1B-0962-4902-8E8C-DF3DF7E6A7BE}" type="presParOf" srcId="{0BB3A628-DB66-4DDF-AD0D-30AE11B1CD5C}" destId="{5CA7E4D3-3D21-44AB-B58B-FBCF7866E8CA}" srcOrd="3" destOrd="0" presId="urn:microsoft.com/office/officeart/2005/8/layout/list1"/>
    <dgm:cxn modelId="{AC61F876-A883-49DD-AA1D-40AA71C6BA68}" type="presParOf" srcId="{0BB3A628-DB66-4DDF-AD0D-30AE11B1CD5C}" destId="{64D7A2CD-E3D6-410E-B04D-CF6AEAA4DE8D}" srcOrd="4" destOrd="0" presId="urn:microsoft.com/office/officeart/2005/8/layout/list1"/>
    <dgm:cxn modelId="{1FC3FE23-966A-4B80-89DE-1B1882708AD1}" type="presParOf" srcId="{64D7A2CD-E3D6-410E-B04D-CF6AEAA4DE8D}" destId="{E12CA147-403B-4034-A377-B8126095452D}" srcOrd="0" destOrd="0" presId="urn:microsoft.com/office/officeart/2005/8/layout/list1"/>
    <dgm:cxn modelId="{A362F9D0-8EEB-42A8-9080-3A8F84511AC3}" type="presParOf" srcId="{64D7A2CD-E3D6-410E-B04D-CF6AEAA4DE8D}" destId="{1708D1DF-206F-47BD-91F2-9E1973FCF89B}" srcOrd="1" destOrd="0" presId="urn:microsoft.com/office/officeart/2005/8/layout/list1"/>
    <dgm:cxn modelId="{9DDA3044-752B-41B3-ACDB-CC0F139BC482}" type="presParOf" srcId="{0BB3A628-DB66-4DDF-AD0D-30AE11B1CD5C}" destId="{A52F0464-C828-43F0-983C-57C19DD85EE9}" srcOrd="5" destOrd="0" presId="urn:microsoft.com/office/officeart/2005/8/layout/list1"/>
    <dgm:cxn modelId="{1EAA14CF-0BC4-453E-84C4-0210A8A72D5E}" type="presParOf" srcId="{0BB3A628-DB66-4DDF-AD0D-30AE11B1CD5C}" destId="{636F49B1-C17D-4243-870F-A8EA509E93B7}"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9A892C-A3A9-4896-A59C-28D406BD948C}" type="doc">
      <dgm:prSet loTypeId="urn:microsoft.com/office/officeart/2005/8/layout/hList1" loCatId="list" qsTypeId="urn:microsoft.com/office/officeart/2005/8/quickstyle/simple4" qsCatId="simple" csTypeId="urn:microsoft.com/office/officeart/2005/8/colors/accent5_2" csCatId="accent5"/>
      <dgm:spPr/>
      <dgm:t>
        <a:bodyPr/>
        <a:lstStyle/>
        <a:p>
          <a:endParaRPr lang="en-US"/>
        </a:p>
      </dgm:t>
    </dgm:pt>
    <dgm:pt modelId="{3BC0A050-8FCB-44FA-825E-75E1257C606C}">
      <dgm:prSet custT="1"/>
      <dgm:spPr/>
      <dgm:t>
        <a:bodyPr/>
        <a:lstStyle/>
        <a:p>
          <a:r>
            <a:rPr lang="en-GB" sz="1400" dirty="0"/>
            <a:t>Shows top performance degrading queries by showing most resource consuming queries, long running queries and custom configuration.</a:t>
          </a:r>
          <a:endParaRPr lang="en-US" sz="1400" dirty="0"/>
        </a:p>
      </dgm:t>
    </dgm:pt>
    <dgm:pt modelId="{5F649681-695F-48D0-8879-45D3E5819599}" type="parTrans" cxnId="{B6D92341-372D-44F2-AAE4-E97E3B2F8D48}">
      <dgm:prSet/>
      <dgm:spPr/>
      <dgm:t>
        <a:bodyPr/>
        <a:lstStyle/>
        <a:p>
          <a:endParaRPr lang="en-US"/>
        </a:p>
      </dgm:t>
    </dgm:pt>
    <dgm:pt modelId="{9C2EE3E3-3E38-4A5F-93EF-2363B51941F9}" type="sibTrans" cxnId="{B6D92341-372D-44F2-AAE4-E97E3B2F8D48}">
      <dgm:prSet/>
      <dgm:spPr/>
      <dgm:t>
        <a:bodyPr/>
        <a:lstStyle/>
        <a:p>
          <a:endParaRPr lang="en-US"/>
        </a:p>
      </dgm:t>
    </dgm:pt>
    <dgm:pt modelId="{A43F95EF-7B1D-46D7-AD5F-ABED5FE760D4}">
      <dgm:prSet custT="1"/>
      <dgm:spPr/>
      <dgm:t>
        <a:bodyPr/>
        <a:lstStyle/>
        <a:p>
          <a:r>
            <a:rPr lang="en-GB" sz="1400" dirty="0"/>
            <a:t>Can drill through the queries to see Query text, CPU, data IO and Log IO utilization %, Duration and Execution count.</a:t>
          </a:r>
          <a:endParaRPr lang="en-US" sz="1400" dirty="0"/>
        </a:p>
      </dgm:t>
    </dgm:pt>
    <dgm:pt modelId="{A041D93C-166D-4814-AF39-6E08D7073C44}" type="parTrans" cxnId="{42FDD21B-975D-44F3-ABA6-FA24AD6B52CB}">
      <dgm:prSet/>
      <dgm:spPr/>
      <dgm:t>
        <a:bodyPr/>
        <a:lstStyle/>
        <a:p>
          <a:endParaRPr lang="en-US"/>
        </a:p>
      </dgm:t>
    </dgm:pt>
    <dgm:pt modelId="{A31FB3FF-C452-4D87-A500-22BD5EFE5613}" type="sibTrans" cxnId="{42FDD21B-975D-44F3-ABA6-FA24AD6B52CB}">
      <dgm:prSet/>
      <dgm:spPr/>
      <dgm:t>
        <a:bodyPr/>
        <a:lstStyle/>
        <a:p>
          <a:endParaRPr lang="en-US"/>
        </a:p>
      </dgm:t>
    </dgm:pt>
    <dgm:pt modelId="{63CE6B90-3D92-4975-94D9-2937C2A1EA08}">
      <dgm:prSet custT="1"/>
      <dgm:spPr/>
      <dgm:t>
        <a:bodyPr/>
        <a:lstStyle/>
        <a:p>
          <a:r>
            <a:rPr lang="en-GB" sz="1800" b="1" dirty="0"/>
            <a:t>Query Performance Insight</a:t>
          </a:r>
          <a:endParaRPr lang="en-US" sz="1800" dirty="0"/>
        </a:p>
      </dgm:t>
    </dgm:pt>
    <dgm:pt modelId="{8741137C-5049-444D-9E1D-B9C26D035847}" type="sibTrans" cxnId="{9FBD51B3-1513-45AC-81F9-09168B54E3F3}">
      <dgm:prSet/>
      <dgm:spPr/>
      <dgm:t>
        <a:bodyPr/>
        <a:lstStyle/>
        <a:p>
          <a:endParaRPr lang="en-US"/>
        </a:p>
      </dgm:t>
    </dgm:pt>
    <dgm:pt modelId="{4AF7EC84-84BE-4BD2-94E1-0C0C155F9665}" type="parTrans" cxnId="{9FBD51B3-1513-45AC-81F9-09168B54E3F3}">
      <dgm:prSet/>
      <dgm:spPr/>
      <dgm:t>
        <a:bodyPr/>
        <a:lstStyle/>
        <a:p>
          <a:endParaRPr lang="en-US"/>
        </a:p>
      </dgm:t>
    </dgm:pt>
    <dgm:pt modelId="{B9097E74-DE84-46FC-AE1E-5CD812548A88}" type="pres">
      <dgm:prSet presAssocID="{749A892C-A3A9-4896-A59C-28D406BD948C}" presName="Name0" presStyleCnt="0">
        <dgm:presLayoutVars>
          <dgm:dir/>
          <dgm:animLvl val="lvl"/>
          <dgm:resizeHandles val="exact"/>
        </dgm:presLayoutVars>
      </dgm:prSet>
      <dgm:spPr/>
    </dgm:pt>
    <dgm:pt modelId="{F90B05D2-4A5B-4685-8017-DFC2C6AC935C}" type="pres">
      <dgm:prSet presAssocID="{63CE6B90-3D92-4975-94D9-2937C2A1EA08}" presName="composite" presStyleCnt="0"/>
      <dgm:spPr/>
    </dgm:pt>
    <dgm:pt modelId="{5EBE53F4-54C1-4E97-B579-416649A0A20D}" type="pres">
      <dgm:prSet presAssocID="{63CE6B90-3D92-4975-94D9-2937C2A1EA08}" presName="parTx" presStyleLbl="alignNode1" presStyleIdx="0" presStyleCnt="1">
        <dgm:presLayoutVars>
          <dgm:chMax val="0"/>
          <dgm:chPref val="0"/>
          <dgm:bulletEnabled val="1"/>
        </dgm:presLayoutVars>
      </dgm:prSet>
      <dgm:spPr/>
    </dgm:pt>
    <dgm:pt modelId="{929C0300-0DF1-4CD4-BD65-1F330D9201BB}" type="pres">
      <dgm:prSet presAssocID="{63CE6B90-3D92-4975-94D9-2937C2A1EA08}" presName="desTx" presStyleLbl="alignAccFollowNode1" presStyleIdx="0" presStyleCnt="1">
        <dgm:presLayoutVars>
          <dgm:bulletEnabled val="1"/>
        </dgm:presLayoutVars>
      </dgm:prSet>
      <dgm:spPr/>
    </dgm:pt>
  </dgm:ptLst>
  <dgm:cxnLst>
    <dgm:cxn modelId="{D609181A-0BDA-47A9-8D81-B3A1D39347C0}" type="presOf" srcId="{63CE6B90-3D92-4975-94D9-2937C2A1EA08}" destId="{5EBE53F4-54C1-4E97-B579-416649A0A20D}" srcOrd="0" destOrd="0" presId="urn:microsoft.com/office/officeart/2005/8/layout/hList1"/>
    <dgm:cxn modelId="{42FDD21B-975D-44F3-ABA6-FA24AD6B52CB}" srcId="{63CE6B90-3D92-4975-94D9-2937C2A1EA08}" destId="{A43F95EF-7B1D-46D7-AD5F-ABED5FE760D4}" srcOrd="1" destOrd="0" parTransId="{A041D93C-166D-4814-AF39-6E08D7073C44}" sibTransId="{A31FB3FF-C452-4D87-A500-22BD5EFE5613}"/>
    <dgm:cxn modelId="{EF188A35-6638-4C84-AF98-2584A53C75AE}" type="presOf" srcId="{3BC0A050-8FCB-44FA-825E-75E1257C606C}" destId="{929C0300-0DF1-4CD4-BD65-1F330D9201BB}" srcOrd="0" destOrd="0" presId="urn:microsoft.com/office/officeart/2005/8/layout/hList1"/>
    <dgm:cxn modelId="{B6D92341-372D-44F2-AAE4-E97E3B2F8D48}" srcId="{63CE6B90-3D92-4975-94D9-2937C2A1EA08}" destId="{3BC0A050-8FCB-44FA-825E-75E1257C606C}" srcOrd="0" destOrd="0" parTransId="{5F649681-695F-48D0-8879-45D3E5819599}" sibTransId="{9C2EE3E3-3E38-4A5F-93EF-2363B51941F9}"/>
    <dgm:cxn modelId="{21770268-3A9F-4A20-9B8B-98E0DA39971C}" type="presOf" srcId="{A43F95EF-7B1D-46D7-AD5F-ABED5FE760D4}" destId="{929C0300-0DF1-4CD4-BD65-1F330D9201BB}" srcOrd="0" destOrd="1" presId="urn:microsoft.com/office/officeart/2005/8/layout/hList1"/>
    <dgm:cxn modelId="{9FBD51B3-1513-45AC-81F9-09168B54E3F3}" srcId="{749A892C-A3A9-4896-A59C-28D406BD948C}" destId="{63CE6B90-3D92-4975-94D9-2937C2A1EA08}" srcOrd="0" destOrd="0" parTransId="{4AF7EC84-84BE-4BD2-94E1-0C0C155F9665}" sibTransId="{8741137C-5049-444D-9E1D-B9C26D035847}"/>
    <dgm:cxn modelId="{97ECCEB5-6C78-4FE8-A960-1740729DB671}" type="presOf" srcId="{749A892C-A3A9-4896-A59C-28D406BD948C}" destId="{B9097E74-DE84-46FC-AE1E-5CD812548A88}" srcOrd="0" destOrd="0" presId="urn:microsoft.com/office/officeart/2005/8/layout/hList1"/>
    <dgm:cxn modelId="{4950A176-88C6-40A5-AB25-B66703AB3762}" type="presParOf" srcId="{B9097E74-DE84-46FC-AE1E-5CD812548A88}" destId="{F90B05D2-4A5B-4685-8017-DFC2C6AC935C}" srcOrd="0" destOrd="0" presId="urn:microsoft.com/office/officeart/2005/8/layout/hList1"/>
    <dgm:cxn modelId="{75F5EAC0-9490-4207-A4DF-5D4358CFD528}" type="presParOf" srcId="{F90B05D2-4A5B-4685-8017-DFC2C6AC935C}" destId="{5EBE53F4-54C1-4E97-B579-416649A0A20D}" srcOrd="0" destOrd="0" presId="urn:microsoft.com/office/officeart/2005/8/layout/hList1"/>
    <dgm:cxn modelId="{73FC55A7-8AC0-4490-AFF2-777B714FB149}" type="presParOf" srcId="{F90B05D2-4A5B-4685-8017-DFC2C6AC935C}" destId="{929C0300-0DF1-4CD4-BD65-1F330D9201B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4D0FFD-22E8-4C08-9124-685EF325B6C0}" type="doc">
      <dgm:prSet loTypeId="urn:microsoft.com/office/officeart/2005/8/layout/vList2" loCatId="list" qsTypeId="urn:microsoft.com/office/officeart/2005/8/quickstyle/simple1" qsCatId="simple" csTypeId="urn:microsoft.com/office/officeart/2005/8/colors/accent5_2" csCatId="accent5"/>
      <dgm:spPr/>
      <dgm:t>
        <a:bodyPr/>
        <a:lstStyle/>
        <a:p>
          <a:endParaRPr lang="en-US"/>
        </a:p>
      </dgm:t>
    </dgm:pt>
    <dgm:pt modelId="{624548D4-1EC5-496A-BD44-F489DEA4A3E5}">
      <dgm:prSet custT="1"/>
      <dgm:spPr/>
      <dgm:t>
        <a:bodyPr/>
        <a:lstStyle/>
        <a:p>
          <a:r>
            <a:rPr lang="en-US" sz="1800" baseline="0" dirty="0"/>
            <a:t>Duration is one of the metrics showing potential bottleneck</a:t>
          </a:r>
          <a:endParaRPr lang="en-US" sz="1800" dirty="0"/>
        </a:p>
      </dgm:t>
    </dgm:pt>
    <dgm:pt modelId="{399AE3F6-FF58-4081-864E-EC167FA0B09F}" type="parTrans" cxnId="{FB7BCDD0-DE32-4AF2-B7F4-A2AB846EF8FC}">
      <dgm:prSet/>
      <dgm:spPr/>
      <dgm:t>
        <a:bodyPr/>
        <a:lstStyle/>
        <a:p>
          <a:endParaRPr lang="en-US"/>
        </a:p>
      </dgm:t>
    </dgm:pt>
    <dgm:pt modelId="{197B559D-6B8C-4BB8-8CEE-84B6FCCDF2B3}" type="sibTrans" cxnId="{FB7BCDD0-DE32-4AF2-B7F4-A2AB846EF8FC}">
      <dgm:prSet/>
      <dgm:spPr/>
      <dgm:t>
        <a:bodyPr/>
        <a:lstStyle/>
        <a:p>
          <a:endParaRPr lang="en-US"/>
        </a:p>
      </dgm:t>
    </dgm:pt>
    <dgm:pt modelId="{78D7F90B-4805-4E82-A0A7-C575E83D0544}">
      <dgm:prSet custT="1"/>
      <dgm:spPr/>
      <dgm:t>
        <a:bodyPr/>
        <a:lstStyle/>
        <a:p>
          <a:r>
            <a:rPr lang="en-US" sz="1800" baseline="0"/>
            <a:t>Long-running queries has potential for:</a:t>
          </a:r>
          <a:endParaRPr lang="en-US" sz="1800"/>
        </a:p>
      </dgm:t>
    </dgm:pt>
    <dgm:pt modelId="{92BA5587-CDAD-4F7F-BD69-4E549AA76D8A}" type="parTrans" cxnId="{B498A0A4-678B-48CB-9C4E-CF4F4EEFDAB4}">
      <dgm:prSet/>
      <dgm:spPr/>
      <dgm:t>
        <a:bodyPr/>
        <a:lstStyle/>
        <a:p>
          <a:endParaRPr lang="en-US"/>
        </a:p>
      </dgm:t>
    </dgm:pt>
    <dgm:pt modelId="{CE1BA41C-FBC0-4E51-A6DA-F6D7E921CDDA}" type="sibTrans" cxnId="{B498A0A4-678B-48CB-9C4E-CF4F4EEFDAB4}">
      <dgm:prSet/>
      <dgm:spPr/>
      <dgm:t>
        <a:bodyPr/>
        <a:lstStyle/>
        <a:p>
          <a:endParaRPr lang="en-US"/>
        </a:p>
      </dgm:t>
    </dgm:pt>
    <dgm:pt modelId="{D576F685-350E-4627-8E20-B657FA03DA6C}">
      <dgm:prSet custT="1"/>
      <dgm:spPr/>
      <dgm:t>
        <a:bodyPr/>
        <a:lstStyle/>
        <a:p>
          <a:r>
            <a:rPr lang="en-US" sz="1800" baseline="0" dirty="0"/>
            <a:t>Longer locks</a:t>
          </a:r>
          <a:endParaRPr lang="en-US" sz="1800" dirty="0"/>
        </a:p>
      </dgm:t>
    </dgm:pt>
    <dgm:pt modelId="{3E812296-A307-430D-9CD1-D5F4F407ACD3}" type="parTrans" cxnId="{7C7CB8DD-1D7C-4214-BAE5-987F4F865AB5}">
      <dgm:prSet/>
      <dgm:spPr/>
      <dgm:t>
        <a:bodyPr/>
        <a:lstStyle/>
        <a:p>
          <a:endParaRPr lang="en-US"/>
        </a:p>
      </dgm:t>
    </dgm:pt>
    <dgm:pt modelId="{35E0B351-093E-4646-9A3D-9B212CAC603D}" type="sibTrans" cxnId="{7C7CB8DD-1D7C-4214-BAE5-987F4F865AB5}">
      <dgm:prSet/>
      <dgm:spPr/>
      <dgm:t>
        <a:bodyPr/>
        <a:lstStyle/>
        <a:p>
          <a:endParaRPr lang="en-US"/>
        </a:p>
      </dgm:t>
    </dgm:pt>
    <dgm:pt modelId="{7BE684B0-D160-43A0-969B-0CC484B29CDB}">
      <dgm:prSet custT="1"/>
      <dgm:spPr/>
      <dgm:t>
        <a:bodyPr/>
        <a:lstStyle/>
        <a:p>
          <a:r>
            <a:rPr lang="en-US" sz="1800" baseline="0" dirty="0"/>
            <a:t>Blocking other users</a:t>
          </a:r>
          <a:endParaRPr lang="en-US" sz="1800" dirty="0"/>
        </a:p>
      </dgm:t>
    </dgm:pt>
    <dgm:pt modelId="{274650C1-630E-4F5D-9DC4-94C6646562E4}" type="parTrans" cxnId="{7DEC64EB-3720-47B2-A888-85F3124C48EB}">
      <dgm:prSet/>
      <dgm:spPr/>
      <dgm:t>
        <a:bodyPr/>
        <a:lstStyle/>
        <a:p>
          <a:endParaRPr lang="en-US"/>
        </a:p>
      </dgm:t>
    </dgm:pt>
    <dgm:pt modelId="{4402E595-2679-4664-A1FE-0B15CC1E1EE5}" type="sibTrans" cxnId="{7DEC64EB-3720-47B2-A888-85F3124C48EB}">
      <dgm:prSet/>
      <dgm:spPr/>
      <dgm:t>
        <a:bodyPr/>
        <a:lstStyle/>
        <a:p>
          <a:endParaRPr lang="en-US"/>
        </a:p>
      </dgm:t>
    </dgm:pt>
    <dgm:pt modelId="{757D24EB-6883-4AC1-8FED-69BADCF26A19}">
      <dgm:prSet custT="1"/>
      <dgm:spPr/>
      <dgm:t>
        <a:bodyPr/>
        <a:lstStyle/>
        <a:p>
          <a:r>
            <a:rPr lang="en-US" sz="1800" baseline="0" dirty="0"/>
            <a:t>Limiting scalability</a:t>
          </a:r>
          <a:endParaRPr lang="en-US" sz="1800" dirty="0"/>
        </a:p>
      </dgm:t>
    </dgm:pt>
    <dgm:pt modelId="{78565CC4-E93C-4C3B-A6C5-717400FD4FDF}" type="parTrans" cxnId="{FD5E3011-3F23-48D2-821B-27FB778414BD}">
      <dgm:prSet/>
      <dgm:spPr/>
      <dgm:t>
        <a:bodyPr/>
        <a:lstStyle/>
        <a:p>
          <a:endParaRPr lang="en-US"/>
        </a:p>
      </dgm:t>
    </dgm:pt>
    <dgm:pt modelId="{877C0E95-FC4A-4257-822D-459A2A1D4D17}" type="sibTrans" cxnId="{FD5E3011-3F23-48D2-821B-27FB778414BD}">
      <dgm:prSet/>
      <dgm:spPr/>
      <dgm:t>
        <a:bodyPr/>
        <a:lstStyle/>
        <a:p>
          <a:endParaRPr lang="en-US"/>
        </a:p>
      </dgm:t>
    </dgm:pt>
    <dgm:pt modelId="{38631CDE-F048-4742-A209-52643C36DA09}" type="pres">
      <dgm:prSet presAssocID="{ED4D0FFD-22E8-4C08-9124-685EF325B6C0}" presName="linear" presStyleCnt="0">
        <dgm:presLayoutVars>
          <dgm:animLvl val="lvl"/>
          <dgm:resizeHandles val="exact"/>
        </dgm:presLayoutVars>
      </dgm:prSet>
      <dgm:spPr/>
    </dgm:pt>
    <dgm:pt modelId="{2144588E-C450-4775-85F9-84BA87F9DD90}" type="pres">
      <dgm:prSet presAssocID="{624548D4-1EC5-496A-BD44-F489DEA4A3E5}" presName="parentText" presStyleLbl="node1" presStyleIdx="0" presStyleCnt="2">
        <dgm:presLayoutVars>
          <dgm:chMax val="0"/>
          <dgm:bulletEnabled val="1"/>
        </dgm:presLayoutVars>
      </dgm:prSet>
      <dgm:spPr/>
    </dgm:pt>
    <dgm:pt modelId="{76E12135-971B-4706-912D-EDF61923E5EB}" type="pres">
      <dgm:prSet presAssocID="{197B559D-6B8C-4BB8-8CEE-84B6FCCDF2B3}" presName="spacer" presStyleCnt="0"/>
      <dgm:spPr/>
    </dgm:pt>
    <dgm:pt modelId="{42FC2833-AE7B-45FB-AA30-62803F642B80}" type="pres">
      <dgm:prSet presAssocID="{78D7F90B-4805-4E82-A0A7-C575E83D0544}" presName="parentText" presStyleLbl="node1" presStyleIdx="1" presStyleCnt="2">
        <dgm:presLayoutVars>
          <dgm:chMax val="0"/>
          <dgm:bulletEnabled val="1"/>
        </dgm:presLayoutVars>
      </dgm:prSet>
      <dgm:spPr/>
    </dgm:pt>
    <dgm:pt modelId="{8560D59D-0AC2-49C1-8F71-045A51D516B5}" type="pres">
      <dgm:prSet presAssocID="{78D7F90B-4805-4E82-A0A7-C575E83D0544}" presName="childText" presStyleLbl="revTx" presStyleIdx="0" presStyleCnt="1">
        <dgm:presLayoutVars>
          <dgm:bulletEnabled val="1"/>
        </dgm:presLayoutVars>
      </dgm:prSet>
      <dgm:spPr/>
    </dgm:pt>
  </dgm:ptLst>
  <dgm:cxnLst>
    <dgm:cxn modelId="{FD5E3011-3F23-48D2-821B-27FB778414BD}" srcId="{78D7F90B-4805-4E82-A0A7-C575E83D0544}" destId="{757D24EB-6883-4AC1-8FED-69BADCF26A19}" srcOrd="2" destOrd="0" parTransId="{78565CC4-E93C-4C3B-A6C5-717400FD4FDF}" sibTransId="{877C0E95-FC4A-4257-822D-459A2A1D4D17}"/>
    <dgm:cxn modelId="{62BED318-074D-433B-96B5-D5F4CEE6653E}" type="presOf" srcId="{D576F685-350E-4627-8E20-B657FA03DA6C}" destId="{8560D59D-0AC2-49C1-8F71-045A51D516B5}" srcOrd="0" destOrd="0" presId="urn:microsoft.com/office/officeart/2005/8/layout/vList2"/>
    <dgm:cxn modelId="{E76B0D1A-5AF1-472F-8976-9D156F2BC591}" type="presOf" srcId="{78D7F90B-4805-4E82-A0A7-C575E83D0544}" destId="{42FC2833-AE7B-45FB-AA30-62803F642B80}" srcOrd="0" destOrd="0" presId="urn:microsoft.com/office/officeart/2005/8/layout/vList2"/>
    <dgm:cxn modelId="{5EEB8A7B-24C7-47F8-BED8-2A5D9E24E354}" type="presOf" srcId="{624548D4-1EC5-496A-BD44-F489DEA4A3E5}" destId="{2144588E-C450-4775-85F9-84BA87F9DD90}" srcOrd="0" destOrd="0" presId="urn:microsoft.com/office/officeart/2005/8/layout/vList2"/>
    <dgm:cxn modelId="{C312FB7F-6163-4217-8538-047A3E92E6D9}" type="presOf" srcId="{757D24EB-6883-4AC1-8FED-69BADCF26A19}" destId="{8560D59D-0AC2-49C1-8F71-045A51D516B5}" srcOrd="0" destOrd="2" presId="urn:microsoft.com/office/officeart/2005/8/layout/vList2"/>
    <dgm:cxn modelId="{B498A0A4-678B-48CB-9C4E-CF4F4EEFDAB4}" srcId="{ED4D0FFD-22E8-4C08-9124-685EF325B6C0}" destId="{78D7F90B-4805-4E82-A0A7-C575E83D0544}" srcOrd="1" destOrd="0" parTransId="{92BA5587-CDAD-4F7F-BD69-4E549AA76D8A}" sibTransId="{CE1BA41C-FBC0-4E51-A6DA-F6D7E921CDDA}"/>
    <dgm:cxn modelId="{342C17C3-3D1B-4F20-BB9F-1147B8A17EAA}" type="presOf" srcId="{7BE684B0-D160-43A0-969B-0CC484B29CDB}" destId="{8560D59D-0AC2-49C1-8F71-045A51D516B5}" srcOrd="0" destOrd="1" presId="urn:microsoft.com/office/officeart/2005/8/layout/vList2"/>
    <dgm:cxn modelId="{FB7BCDD0-DE32-4AF2-B7F4-A2AB846EF8FC}" srcId="{ED4D0FFD-22E8-4C08-9124-685EF325B6C0}" destId="{624548D4-1EC5-496A-BD44-F489DEA4A3E5}" srcOrd="0" destOrd="0" parTransId="{399AE3F6-FF58-4081-864E-EC167FA0B09F}" sibTransId="{197B559D-6B8C-4BB8-8CEE-84B6FCCDF2B3}"/>
    <dgm:cxn modelId="{394E5ADD-B3E5-4586-801E-251C621E3491}" type="presOf" srcId="{ED4D0FFD-22E8-4C08-9124-685EF325B6C0}" destId="{38631CDE-F048-4742-A209-52643C36DA09}" srcOrd="0" destOrd="0" presId="urn:microsoft.com/office/officeart/2005/8/layout/vList2"/>
    <dgm:cxn modelId="{7C7CB8DD-1D7C-4214-BAE5-987F4F865AB5}" srcId="{78D7F90B-4805-4E82-A0A7-C575E83D0544}" destId="{D576F685-350E-4627-8E20-B657FA03DA6C}" srcOrd="0" destOrd="0" parTransId="{3E812296-A307-430D-9CD1-D5F4F407ACD3}" sibTransId="{35E0B351-093E-4646-9A3D-9B212CAC603D}"/>
    <dgm:cxn modelId="{7DEC64EB-3720-47B2-A888-85F3124C48EB}" srcId="{78D7F90B-4805-4E82-A0A7-C575E83D0544}" destId="{7BE684B0-D160-43A0-969B-0CC484B29CDB}" srcOrd="1" destOrd="0" parTransId="{274650C1-630E-4F5D-9DC4-94C6646562E4}" sibTransId="{4402E595-2679-4664-A1FE-0B15CC1E1EE5}"/>
    <dgm:cxn modelId="{DD7912D6-BC61-455F-B563-A7ABF9DA8BC8}" type="presParOf" srcId="{38631CDE-F048-4742-A209-52643C36DA09}" destId="{2144588E-C450-4775-85F9-84BA87F9DD90}" srcOrd="0" destOrd="0" presId="urn:microsoft.com/office/officeart/2005/8/layout/vList2"/>
    <dgm:cxn modelId="{1D316427-22A0-49E4-949C-FD53841CC7CD}" type="presParOf" srcId="{38631CDE-F048-4742-A209-52643C36DA09}" destId="{76E12135-971B-4706-912D-EDF61923E5EB}" srcOrd="1" destOrd="0" presId="urn:microsoft.com/office/officeart/2005/8/layout/vList2"/>
    <dgm:cxn modelId="{DC43B0E3-7EE1-469F-905A-6E6946C7F3FB}" type="presParOf" srcId="{38631CDE-F048-4742-A209-52643C36DA09}" destId="{42FC2833-AE7B-45FB-AA30-62803F642B80}" srcOrd="2" destOrd="0" presId="urn:microsoft.com/office/officeart/2005/8/layout/vList2"/>
    <dgm:cxn modelId="{CE279C00-3EC6-481D-9F9D-A4F58C5B2E0C}" type="presParOf" srcId="{38631CDE-F048-4742-A209-52643C36DA09}" destId="{8560D59D-0AC2-49C1-8F71-045A51D516B5}"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0D8A238-421F-4656-B130-6B36F46ACFBA}"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D42998FA-7EA6-4F37-9F88-D0BB9A5DD642}">
      <dgm:prSet custT="1"/>
      <dgm:spPr/>
      <dgm:t>
        <a:bodyPr/>
        <a:lstStyle/>
        <a:p>
          <a:r>
            <a:rPr lang="en-GB" sz="2400" b="1" dirty="0"/>
            <a:t>Custom options: </a:t>
          </a:r>
          <a:endParaRPr lang="en-US" sz="2400" dirty="0"/>
        </a:p>
      </dgm:t>
    </dgm:pt>
    <dgm:pt modelId="{209A8403-A9A5-427A-974D-FB5B6AA98257}" type="parTrans" cxnId="{224640CC-2C11-4993-A6C8-C32C6B7D6372}">
      <dgm:prSet/>
      <dgm:spPr/>
      <dgm:t>
        <a:bodyPr/>
        <a:lstStyle/>
        <a:p>
          <a:endParaRPr lang="en-US"/>
        </a:p>
      </dgm:t>
    </dgm:pt>
    <dgm:pt modelId="{C4886027-B0CD-4693-AD1E-5EFF83F501FC}" type="sibTrans" cxnId="{224640CC-2C11-4993-A6C8-C32C6B7D6372}">
      <dgm:prSet/>
      <dgm:spPr/>
      <dgm:t>
        <a:bodyPr/>
        <a:lstStyle/>
        <a:p>
          <a:endParaRPr lang="en-US"/>
        </a:p>
      </dgm:t>
    </dgm:pt>
    <dgm:pt modelId="{F74FD83C-9677-4547-AC0E-2DA714AF1F41}">
      <dgm:prSet custT="1"/>
      <dgm:spPr/>
      <dgm:t>
        <a:bodyPr/>
        <a:lstStyle/>
        <a:p>
          <a:r>
            <a:rPr lang="en-GB" sz="1800" b="1" dirty="0"/>
            <a:t>Metric Type</a:t>
          </a:r>
          <a:r>
            <a:rPr lang="en-GB" sz="1800" dirty="0"/>
            <a:t> – CPU , Data IO, Log IO, Duration and Execution Count.</a:t>
          </a:r>
          <a:endParaRPr lang="en-US" sz="1800" dirty="0"/>
        </a:p>
      </dgm:t>
    </dgm:pt>
    <dgm:pt modelId="{7BABA7BB-32E8-43F5-BBA0-16C26E689A66}" type="parTrans" cxnId="{67B6F0FE-5D97-4B7C-9472-E70BE6E030AF}">
      <dgm:prSet/>
      <dgm:spPr/>
      <dgm:t>
        <a:bodyPr/>
        <a:lstStyle/>
        <a:p>
          <a:endParaRPr lang="en-US"/>
        </a:p>
      </dgm:t>
    </dgm:pt>
    <dgm:pt modelId="{57264AC3-AA4A-43A0-B678-368207CAD6E0}" type="sibTrans" cxnId="{67B6F0FE-5D97-4B7C-9472-E70BE6E030AF}">
      <dgm:prSet/>
      <dgm:spPr/>
      <dgm:t>
        <a:bodyPr/>
        <a:lstStyle/>
        <a:p>
          <a:endParaRPr lang="en-US"/>
        </a:p>
      </dgm:t>
    </dgm:pt>
    <dgm:pt modelId="{31A107C8-EDE4-4FFD-8209-47FC3666FA41}">
      <dgm:prSet custT="1"/>
      <dgm:spPr/>
      <dgm:t>
        <a:bodyPr/>
        <a:lstStyle/>
        <a:p>
          <a:r>
            <a:rPr lang="en-GB" sz="1800" b="1" dirty="0"/>
            <a:t>Time Period</a:t>
          </a:r>
          <a:r>
            <a:rPr lang="en-GB" sz="1800" dirty="0"/>
            <a:t> – Last 6 hrs, Last 24 hrs, Past Week, Past Month and Custom.</a:t>
          </a:r>
          <a:endParaRPr lang="en-US" sz="1800" dirty="0"/>
        </a:p>
      </dgm:t>
    </dgm:pt>
    <dgm:pt modelId="{C0D3EE30-BB7E-49F3-8067-95C7A3D845E7}" type="parTrans" cxnId="{40E07743-FCDF-40A8-B742-24812CE591D8}">
      <dgm:prSet/>
      <dgm:spPr/>
      <dgm:t>
        <a:bodyPr/>
        <a:lstStyle/>
        <a:p>
          <a:endParaRPr lang="en-US"/>
        </a:p>
      </dgm:t>
    </dgm:pt>
    <dgm:pt modelId="{2B19771F-4D25-476C-86EF-D33E0C4D1ECE}" type="sibTrans" cxnId="{40E07743-FCDF-40A8-B742-24812CE591D8}">
      <dgm:prSet/>
      <dgm:spPr/>
      <dgm:t>
        <a:bodyPr/>
        <a:lstStyle/>
        <a:p>
          <a:endParaRPr lang="en-US"/>
        </a:p>
      </dgm:t>
    </dgm:pt>
    <dgm:pt modelId="{8F85E3FD-1CCE-4001-8C5C-180A2B5922CA}">
      <dgm:prSet custT="1"/>
      <dgm:spPr/>
      <dgm:t>
        <a:bodyPr/>
        <a:lstStyle/>
        <a:p>
          <a:r>
            <a:rPr lang="en-GB" sz="1800" b="1" dirty="0"/>
            <a:t>Number of Queries</a:t>
          </a:r>
          <a:r>
            <a:rPr lang="en-GB" sz="1800" dirty="0"/>
            <a:t> – 5, 10, 20.</a:t>
          </a:r>
          <a:endParaRPr lang="en-US" sz="1800" dirty="0"/>
        </a:p>
      </dgm:t>
    </dgm:pt>
    <dgm:pt modelId="{068DA2CC-2466-4648-8138-BCC658DED4EF}" type="parTrans" cxnId="{B1C5E9BE-BAC8-4B8F-9A16-E8B61B76D606}">
      <dgm:prSet/>
      <dgm:spPr/>
      <dgm:t>
        <a:bodyPr/>
        <a:lstStyle/>
        <a:p>
          <a:endParaRPr lang="en-US"/>
        </a:p>
      </dgm:t>
    </dgm:pt>
    <dgm:pt modelId="{915752A9-F1F7-4AF0-8300-F9F529BC9229}" type="sibTrans" cxnId="{B1C5E9BE-BAC8-4B8F-9A16-E8B61B76D606}">
      <dgm:prSet/>
      <dgm:spPr/>
      <dgm:t>
        <a:bodyPr/>
        <a:lstStyle/>
        <a:p>
          <a:endParaRPr lang="en-US"/>
        </a:p>
      </dgm:t>
    </dgm:pt>
    <dgm:pt modelId="{A80BE00A-49ED-4A58-886A-BBF9EB0EEE5C}">
      <dgm:prSet custT="1"/>
      <dgm:spPr/>
      <dgm:t>
        <a:bodyPr/>
        <a:lstStyle/>
        <a:p>
          <a:r>
            <a:rPr lang="en-GB" sz="1800" b="1" dirty="0"/>
            <a:t>Aggregation type</a:t>
          </a:r>
          <a:r>
            <a:rPr lang="en-GB" sz="1800" dirty="0"/>
            <a:t> – sum, max and avg.</a:t>
          </a:r>
          <a:endParaRPr lang="en-US" sz="1800" dirty="0"/>
        </a:p>
      </dgm:t>
    </dgm:pt>
    <dgm:pt modelId="{BD50CF0B-E84C-4CAA-B350-256847334EE4}" type="parTrans" cxnId="{25D973D0-3741-4D4B-B9F9-7B019C55A86C}">
      <dgm:prSet/>
      <dgm:spPr/>
      <dgm:t>
        <a:bodyPr/>
        <a:lstStyle/>
        <a:p>
          <a:endParaRPr lang="en-US"/>
        </a:p>
      </dgm:t>
    </dgm:pt>
    <dgm:pt modelId="{04AD9169-6456-4E86-A053-FB830B49A595}" type="sibTrans" cxnId="{25D973D0-3741-4D4B-B9F9-7B019C55A86C}">
      <dgm:prSet/>
      <dgm:spPr/>
      <dgm:t>
        <a:bodyPr/>
        <a:lstStyle/>
        <a:p>
          <a:endParaRPr lang="en-US"/>
        </a:p>
      </dgm:t>
    </dgm:pt>
    <dgm:pt modelId="{1DB75879-E537-4E76-B61F-07D77EE9F4E7}" type="pres">
      <dgm:prSet presAssocID="{80D8A238-421F-4656-B130-6B36F46ACFBA}" presName="linear" presStyleCnt="0">
        <dgm:presLayoutVars>
          <dgm:animLvl val="lvl"/>
          <dgm:resizeHandles val="exact"/>
        </dgm:presLayoutVars>
      </dgm:prSet>
      <dgm:spPr/>
    </dgm:pt>
    <dgm:pt modelId="{BA0271C5-8214-4C13-9E53-FF8BDD177DBA}" type="pres">
      <dgm:prSet presAssocID="{D42998FA-7EA6-4F37-9F88-D0BB9A5DD642}" presName="parentText" presStyleLbl="node1" presStyleIdx="0" presStyleCnt="1">
        <dgm:presLayoutVars>
          <dgm:chMax val="0"/>
          <dgm:bulletEnabled val="1"/>
        </dgm:presLayoutVars>
      </dgm:prSet>
      <dgm:spPr/>
    </dgm:pt>
    <dgm:pt modelId="{74E709F4-10FE-456F-ABDF-13BB3F47D687}" type="pres">
      <dgm:prSet presAssocID="{D42998FA-7EA6-4F37-9F88-D0BB9A5DD642}" presName="childText" presStyleLbl="revTx" presStyleIdx="0" presStyleCnt="1">
        <dgm:presLayoutVars>
          <dgm:bulletEnabled val="1"/>
        </dgm:presLayoutVars>
      </dgm:prSet>
      <dgm:spPr/>
    </dgm:pt>
  </dgm:ptLst>
  <dgm:cxnLst>
    <dgm:cxn modelId="{8782AD0D-9B5B-4D8D-8A1F-232E6936D722}" type="presOf" srcId="{A80BE00A-49ED-4A58-886A-BBF9EB0EEE5C}" destId="{74E709F4-10FE-456F-ABDF-13BB3F47D687}" srcOrd="0" destOrd="3" presId="urn:microsoft.com/office/officeart/2005/8/layout/vList2"/>
    <dgm:cxn modelId="{3CFC690E-B2A7-4133-8F9A-F40B223AE014}" type="presOf" srcId="{31A107C8-EDE4-4FFD-8209-47FC3666FA41}" destId="{74E709F4-10FE-456F-ABDF-13BB3F47D687}" srcOrd="0" destOrd="1" presId="urn:microsoft.com/office/officeart/2005/8/layout/vList2"/>
    <dgm:cxn modelId="{40E07743-FCDF-40A8-B742-24812CE591D8}" srcId="{D42998FA-7EA6-4F37-9F88-D0BB9A5DD642}" destId="{31A107C8-EDE4-4FFD-8209-47FC3666FA41}" srcOrd="1" destOrd="0" parTransId="{C0D3EE30-BB7E-49F3-8067-95C7A3D845E7}" sibTransId="{2B19771F-4D25-476C-86EF-D33E0C4D1ECE}"/>
    <dgm:cxn modelId="{1431F665-E882-42F8-A2FB-86E4F29F4A3F}" type="presOf" srcId="{8F85E3FD-1CCE-4001-8C5C-180A2B5922CA}" destId="{74E709F4-10FE-456F-ABDF-13BB3F47D687}" srcOrd="0" destOrd="2" presId="urn:microsoft.com/office/officeart/2005/8/layout/vList2"/>
    <dgm:cxn modelId="{E8B5BE77-F1A7-4805-9ED6-4FA91AFEB368}" type="presOf" srcId="{80D8A238-421F-4656-B130-6B36F46ACFBA}" destId="{1DB75879-E537-4E76-B61F-07D77EE9F4E7}" srcOrd="0" destOrd="0" presId="urn:microsoft.com/office/officeart/2005/8/layout/vList2"/>
    <dgm:cxn modelId="{B1C5E9BE-BAC8-4B8F-9A16-E8B61B76D606}" srcId="{D42998FA-7EA6-4F37-9F88-D0BB9A5DD642}" destId="{8F85E3FD-1CCE-4001-8C5C-180A2B5922CA}" srcOrd="2" destOrd="0" parTransId="{068DA2CC-2466-4648-8138-BCC658DED4EF}" sibTransId="{915752A9-F1F7-4AF0-8300-F9F529BC9229}"/>
    <dgm:cxn modelId="{224640CC-2C11-4993-A6C8-C32C6B7D6372}" srcId="{80D8A238-421F-4656-B130-6B36F46ACFBA}" destId="{D42998FA-7EA6-4F37-9F88-D0BB9A5DD642}" srcOrd="0" destOrd="0" parTransId="{209A8403-A9A5-427A-974D-FB5B6AA98257}" sibTransId="{C4886027-B0CD-4693-AD1E-5EFF83F501FC}"/>
    <dgm:cxn modelId="{25D973D0-3741-4D4B-B9F9-7B019C55A86C}" srcId="{D42998FA-7EA6-4F37-9F88-D0BB9A5DD642}" destId="{A80BE00A-49ED-4A58-886A-BBF9EB0EEE5C}" srcOrd="3" destOrd="0" parTransId="{BD50CF0B-E84C-4CAA-B350-256847334EE4}" sibTransId="{04AD9169-6456-4E86-A053-FB830B49A595}"/>
    <dgm:cxn modelId="{89B9B5D8-3388-413A-AEDB-ACA5F5EFD968}" type="presOf" srcId="{D42998FA-7EA6-4F37-9F88-D0BB9A5DD642}" destId="{BA0271C5-8214-4C13-9E53-FF8BDD177DBA}" srcOrd="0" destOrd="0" presId="urn:microsoft.com/office/officeart/2005/8/layout/vList2"/>
    <dgm:cxn modelId="{0C3066F0-1C1A-4B38-8C2E-D6637B71AAC3}" type="presOf" srcId="{F74FD83C-9677-4547-AC0E-2DA714AF1F41}" destId="{74E709F4-10FE-456F-ABDF-13BB3F47D687}" srcOrd="0" destOrd="0" presId="urn:microsoft.com/office/officeart/2005/8/layout/vList2"/>
    <dgm:cxn modelId="{67B6F0FE-5D97-4B7C-9472-E70BE6E030AF}" srcId="{D42998FA-7EA6-4F37-9F88-D0BB9A5DD642}" destId="{F74FD83C-9677-4547-AC0E-2DA714AF1F41}" srcOrd="0" destOrd="0" parTransId="{7BABA7BB-32E8-43F5-BBA0-16C26E689A66}" sibTransId="{57264AC3-AA4A-43A0-B678-368207CAD6E0}"/>
    <dgm:cxn modelId="{5DE6FE4E-A9A3-4E0D-892D-118A3F44D53C}" type="presParOf" srcId="{1DB75879-E537-4E76-B61F-07D77EE9F4E7}" destId="{BA0271C5-8214-4C13-9E53-FF8BDD177DBA}" srcOrd="0" destOrd="0" presId="urn:microsoft.com/office/officeart/2005/8/layout/vList2"/>
    <dgm:cxn modelId="{5242DF0E-B90F-406E-BC59-D05023B1655A}" type="presParOf" srcId="{1DB75879-E537-4E76-B61F-07D77EE9F4E7}" destId="{74E709F4-10FE-456F-ABDF-13BB3F47D687}"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1D22BA4-5309-40B7-91B4-AD3861C4DC04}"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AA6BD06B-13B2-4B3A-93BB-A42D9E41D486}">
      <dgm:prSet custT="1"/>
      <dgm:spPr/>
      <dgm:t>
        <a:bodyPr/>
        <a:lstStyle/>
        <a:p>
          <a:r>
            <a:rPr lang="en-US" sz="1800" dirty="0"/>
            <a:t>High Impact </a:t>
          </a:r>
        </a:p>
      </dgm:t>
    </dgm:pt>
    <dgm:pt modelId="{94E1F07F-B41A-4F36-8963-356E3069D5E7}" type="parTrans" cxnId="{DC7308AD-8FFE-4E0B-8C80-496E8D1305E4}">
      <dgm:prSet/>
      <dgm:spPr/>
      <dgm:t>
        <a:bodyPr/>
        <a:lstStyle/>
        <a:p>
          <a:endParaRPr lang="en-US"/>
        </a:p>
      </dgm:t>
    </dgm:pt>
    <dgm:pt modelId="{61557CBD-270A-42C1-B74F-7C5DF192DF2B}" type="sibTrans" cxnId="{DC7308AD-8FFE-4E0B-8C80-496E8D1305E4}">
      <dgm:prSet/>
      <dgm:spPr/>
      <dgm:t>
        <a:bodyPr/>
        <a:lstStyle/>
        <a:p>
          <a:endParaRPr lang="en-US"/>
        </a:p>
      </dgm:t>
    </dgm:pt>
    <dgm:pt modelId="{47AEC1D5-1C3A-4EB2-A460-BCB984AF3DE8}">
      <dgm:prSet custT="1"/>
      <dgm:spPr/>
      <dgm:t>
        <a:bodyPr/>
        <a:lstStyle/>
        <a:p>
          <a:r>
            <a:rPr lang="en-US" sz="1800" dirty="0"/>
            <a:t>Recommendations should provide the most significant performance impact.</a:t>
          </a:r>
        </a:p>
      </dgm:t>
    </dgm:pt>
    <dgm:pt modelId="{78E51D36-8EC1-4AE4-89E0-F94B1F888F54}" type="parTrans" cxnId="{C9113FED-732A-4913-BD99-40A71BBE1ED3}">
      <dgm:prSet/>
      <dgm:spPr/>
      <dgm:t>
        <a:bodyPr/>
        <a:lstStyle/>
        <a:p>
          <a:endParaRPr lang="en-US"/>
        </a:p>
      </dgm:t>
    </dgm:pt>
    <dgm:pt modelId="{B3341FE8-5A3D-4BAF-B7A1-E0999BC122E6}" type="sibTrans" cxnId="{C9113FED-732A-4913-BD99-40A71BBE1ED3}">
      <dgm:prSet/>
      <dgm:spPr/>
      <dgm:t>
        <a:bodyPr/>
        <a:lstStyle/>
        <a:p>
          <a:endParaRPr lang="en-US"/>
        </a:p>
      </dgm:t>
    </dgm:pt>
    <dgm:pt modelId="{77B95012-64C8-4466-B666-8EF21DD648D7}">
      <dgm:prSet custT="1"/>
      <dgm:spPr/>
      <dgm:t>
        <a:bodyPr/>
        <a:lstStyle/>
        <a:p>
          <a:r>
            <a:rPr lang="en-US" sz="1800" dirty="0"/>
            <a:t>Medium Impact</a:t>
          </a:r>
        </a:p>
      </dgm:t>
    </dgm:pt>
    <dgm:pt modelId="{98CA3676-0BE4-4947-85E0-D4624AB3BD1D}" type="parTrans" cxnId="{4FCA5AB6-4418-48CE-B6EF-647CF59F943F}">
      <dgm:prSet/>
      <dgm:spPr/>
      <dgm:t>
        <a:bodyPr/>
        <a:lstStyle/>
        <a:p>
          <a:endParaRPr lang="en-US"/>
        </a:p>
      </dgm:t>
    </dgm:pt>
    <dgm:pt modelId="{80AE2DC3-4EC3-4EBE-A900-8F9AFB1A857F}" type="sibTrans" cxnId="{4FCA5AB6-4418-48CE-B6EF-647CF59F943F}">
      <dgm:prSet/>
      <dgm:spPr/>
      <dgm:t>
        <a:bodyPr/>
        <a:lstStyle/>
        <a:p>
          <a:endParaRPr lang="en-US"/>
        </a:p>
      </dgm:t>
    </dgm:pt>
    <dgm:pt modelId="{21E5307D-A767-4173-B722-6597349173D8}">
      <dgm:prSet custT="1"/>
      <dgm:spPr/>
      <dgm:t>
        <a:bodyPr/>
        <a:lstStyle/>
        <a:p>
          <a:r>
            <a:rPr lang="en-US" sz="1800"/>
            <a:t>Low Impact</a:t>
          </a:r>
        </a:p>
      </dgm:t>
    </dgm:pt>
    <dgm:pt modelId="{B00F9EB5-5FE7-47AA-A220-213B8B7FF2DB}" type="parTrans" cxnId="{EDBC4EDB-9C52-4297-A439-EEECA234DC73}">
      <dgm:prSet/>
      <dgm:spPr/>
      <dgm:t>
        <a:bodyPr/>
        <a:lstStyle/>
        <a:p>
          <a:endParaRPr lang="en-US"/>
        </a:p>
      </dgm:t>
    </dgm:pt>
    <dgm:pt modelId="{0D19CD07-1E69-4796-B84D-C144057C73E8}" type="sibTrans" cxnId="{EDBC4EDB-9C52-4297-A439-EEECA234DC73}">
      <dgm:prSet/>
      <dgm:spPr/>
      <dgm:t>
        <a:bodyPr/>
        <a:lstStyle/>
        <a:p>
          <a:endParaRPr lang="en-US"/>
        </a:p>
      </dgm:t>
    </dgm:pt>
    <dgm:pt modelId="{221B3DC4-DEDD-4FE3-9099-CA06C351C831}">
      <dgm:prSet custT="1"/>
      <dgm:spPr/>
      <dgm:t>
        <a:bodyPr/>
        <a:lstStyle/>
        <a:p>
          <a:r>
            <a:rPr lang="en-US" sz="1800" dirty="0"/>
            <a:t>Recommendations should provide better performance than without, but improvements might not be significant.</a:t>
          </a:r>
        </a:p>
      </dgm:t>
    </dgm:pt>
    <dgm:pt modelId="{13BEEB4A-E61E-44B1-8A75-BD56945940BA}" type="parTrans" cxnId="{1867FC56-9248-40FF-A681-92E8F8C7D8CA}">
      <dgm:prSet/>
      <dgm:spPr/>
      <dgm:t>
        <a:bodyPr/>
        <a:lstStyle/>
        <a:p>
          <a:endParaRPr lang="en-US"/>
        </a:p>
      </dgm:t>
    </dgm:pt>
    <dgm:pt modelId="{E0D63980-F18E-46D9-A970-38BE5778623A}" type="sibTrans" cxnId="{1867FC56-9248-40FF-A681-92E8F8C7D8CA}">
      <dgm:prSet/>
      <dgm:spPr/>
      <dgm:t>
        <a:bodyPr/>
        <a:lstStyle/>
        <a:p>
          <a:endParaRPr lang="en-US"/>
        </a:p>
      </dgm:t>
    </dgm:pt>
    <dgm:pt modelId="{E0F9078A-B3D0-48A3-99EC-547D471807E9}">
      <dgm:prSet custT="1"/>
      <dgm:spPr/>
      <dgm:t>
        <a:bodyPr/>
        <a:lstStyle/>
        <a:p>
          <a:r>
            <a:rPr lang="en-US" sz="1800" dirty="0"/>
            <a:t>Recommendations should improve performance, but not substantially.</a:t>
          </a:r>
        </a:p>
      </dgm:t>
    </dgm:pt>
    <dgm:pt modelId="{EC6E3D11-EA2E-452F-BD36-0F16929F1EC7}" type="parTrans" cxnId="{71E25D74-B89E-4611-95B4-CF8BF91B8ECB}">
      <dgm:prSet/>
      <dgm:spPr/>
      <dgm:t>
        <a:bodyPr/>
        <a:lstStyle/>
        <a:p>
          <a:endParaRPr lang="en-US"/>
        </a:p>
      </dgm:t>
    </dgm:pt>
    <dgm:pt modelId="{A9AD9A21-8644-49A0-B6CE-9EA148210F8C}" type="sibTrans" cxnId="{71E25D74-B89E-4611-95B4-CF8BF91B8ECB}">
      <dgm:prSet/>
      <dgm:spPr/>
      <dgm:t>
        <a:bodyPr/>
        <a:lstStyle/>
        <a:p>
          <a:endParaRPr lang="en-US"/>
        </a:p>
      </dgm:t>
    </dgm:pt>
    <dgm:pt modelId="{1191A7A7-5FB6-4995-940B-C0464781367C}" type="pres">
      <dgm:prSet presAssocID="{F1D22BA4-5309-40B7-91B4-AD3861C4DC04}" presName="linear" presStyleCnt="0">
        <dgm:presLayoutVars>
          <dgm:animLvl val="lvl"/>
          <dgm:resizeHandles val="exact"/>
        </dgm:presLayoutVars>
      </dgm:prSet>
      <dgm:spPr/>
    </dgm:pt>
    <dgm:pt modelId="{AFB47A68-A29D-405C-AB93-9DEB4EF7D1F2}" type="pres">
      <dgm:prSet presAssocID="{AA6BD06B-13B2-4B3A-93BB-A42D9E41D486}" presName="parentText" presStyleLbl="node1" presStyleIdx="0" presStyleCnt="3">
        <dgm:presLayoutVars>
          <dgm:chMax val="0"/>
          <dgm:bulletEnabled val="1"/>
        </dgm:presLayoutVars>
      </dgm:prSet>
      <dgm:spPr/>
    </dgm:pt>
    <dgm:pt modelId="{658B6BB0-E8EA-4408-AC9E-3325D0575900}" type="pres">
      <dgm:prSet presAssocID="{AA6BD06B-13B2-4B3A-93BB-A42D9E41D486}" presName="childText" presStyleLbl="revTx" presStyleIdx="0" presStyleCnt="3">
        <dgm:presLayoutVars>
          <dgm:bulletEnabled val="1"/>
        </dgm:presLayoutVars>
      </dgm:prSet>
      <dgm:spPr/>
    </dgm:pt>
    <dgm:pt modelId="{AE9313D6-FA63-4FE1-997B-4E514A784D96}" type="pres">
      <dgm:prSet presAssocID="{77B95012-64C8-4466-B666-8EF21DD648D7}" presName="parentText" presStyleLbl="node1" presStyleIdx="1" presStyleCnt="3">
        <dgm:presLayoutVars>
          <dgm:chMax val="0"/>
          <dgm:bulletEnabled val="1"/>
        </dgm:presLayoutVars>
      </dgm:prSet>
      <dgm:spPr/>
    </dgm:pt>
    <dgm:pt modelId="{E96C37B6-86C2-45EC-8FF4-EB691C894A8E}" type="pres">
      <dgm:prSet presAssocID="{77B95012-64C8-4466-B666-8EF21DD648D7}" presName="childText" presStyleLbl="revTx" presStyleIdx="1" presStyleCnt="3">
        <dgm:presLayoutVars>
          <dgm:bulletEnabled val="1"/>
        </dgm:presLayoutVars>
      </dgm:prSet>
      <dgm:spPr/>
    </dgm:pt>
    <dgm:pt modelId="{D9CC3DE3-71BD-48B4-B213-6A8050FFECF1}" type="pres">
      <dgm:prSet presAssocID="{21E5307D-A767-4173-B722-6597349173D8}" presName="parentText" presStyleLbl="node1" presStyleIdx="2" presStyleCnt="3">
        <dgm:presLayoutVars>
          <dgm:chMax val="0"/>
          <dgm:bulletEnabled val="1"/>
        </dgm:presLayoutVars>
      </dgm:prSet>
      <dgm:spPr/>
    </dgm:pt>
    <dgm:pt modelId="{8C0A339F-E849-4301-8049-EE398B667304}" type="pres">
      <dgm:prSet presAssocID="{21E5307D-A767-4173-B722-6597349173D8}" presName="childText" presStyleLbl="revTx" presStyleIdx="2" presStyleCnt="3">
        <dgm:presLayoutVars>
          <dgm:bulletEnabled val="1"/>
        </dgm:presLayoutVars>
      </dgm:prSet>
      <dgm:spPr/>
    </dgm:pt>
  </dgm:ptLst>
  <dgm:cxnLst>
    <dgm:cxn modelId="{C7D5C91F-E0DB-4389-986E-8B71289E50B5}" type="presOf" srcId="{21E5307D-A767-4173-B722-6597349173D8}" destId="{D9CC3DE3-71BD-48B4-B213-6A8050FFECF1}" srcOrd="0" destOrd="0" presId="urn:microsoft.com/office/officeart/2005/8/layout/vList2"/>
    <dgm:cxn modelId="{A42D4C39-14CF-45DF-851F-8F142337DA3D}" type="presOf" srcId="{F1D22BA4-5309-40B7-91B4-AD3861C4DC04}" destId="{1191A7A7-5FB6-4995-940B-C0464781367C}" srcOrd="0" destOrd="0" presId="urn:microsoft.com/office/officeart/2005/8/layout/vList2"/>
    <dgm:cxn modelId="{71E25D74-B89E-4611-95B4-CF8BF91B8ECB}" srcId="{77B95012-64C8-4466-B666-8EF21DD648D7}" destId="{E0F9078A-B3D0-48A3-99EC-547D471807E9}" srcOrd="0" destOrd="0" parTransId="{EC6E3D11-EA2E-452F-BD36-0F16929F1EC7}" sibTransId="{A9AD9A21-8644-49A0-B6CE-9EA148210F8C}"/>
    <dgm:cxn modelId="{1459A674-5118-47B2-8A55-FF62277C4394}" type="presOf" srcId="{221B3DC4-DEDD-4FE3-9099-CA06C351C831}" destId="{8C0A339F-E849-4301-8049-EE398B667304}" srcOrd="0" destOrd="0" presId="urn:microsoft.com/office/officeart/2005/8/layout/vList2"/>
    <dgm:cxn modelId="{1867FC56-9248-40FF-A681-92E8F8C7D8CA}" srcId="{21E5307D-A767-4173-B722-6597349173D8}" destId="{221B3DC4-DEDD-4FE3-9099-CA06C351C831}" srcOrd="0" destOrd="0" parTransId="{13BEEB4A-E61E-44B1-8A75-BD56945940BA}" sibTransId="{E0D63980-F18E-46D9-A970-38BE5778623A}"/>
    <dgm:cxn modelId="{04209595-E5B3-465A-8364-C3FA7B9D663F}" type="presOf" srcId="{E0F9078A-B3D0-48A3-99EC-547D471807E9}" destId="{E96C37B6-86C2-45EC-8FF4-EB691C894A8E}" srcOrd="0" destOrd="0" presId="urn:microsoft.com/office/officeart/2005/8/layout/vList2"/>
    <dgm:cxn modelId="{DC99159B-D014-4336-B168-D7ED6FA37A5D}" type="presOf" srcId="{47AEC1D5-1C3A-4EB2-A460-BCB984AF3DE8}" destId="{658B6BB0-E8EA-4408-AC9E-3325D0575900}" srcOrd="0" destOrd="0" presId="urn:microsoft.com/office/officeart/2005/8/layout/vList2"/>
    <dgm:cxn modelId="{DC7308AD-8FFE-4E0B-8C80-496E8D1305E4}" srcId="{F1D22BA4-5309-40B7-91B4-AD3861C4DC04}" destId="{AA6BD06B-13B2-4B3A-93BB-A42D9E41D486}" srcOrd="0" destOrd="0" parTransId="{94E1F07F-B41A-4F36-8963-356E3069D5E7}" sibTransId="{61557CBD-270A-42C1-B74F-7C5DF192DF2B}"/>
    <dgm:cxn modelId="{4FCA5AB6-4418-48CE-B6EF-647CF59F943F}" srcId="{F1D22BA4-5309-40B7-91B4-AD3861C4DC04}" destId="{77B95012-64C8-4466-B666-8EF21DD648D7}" srcOrd="1" destOrd="0" parTransId="{98CA3676-0BE4-4947-85E0-D4624AB3BD1D}" sibTransId="{80AE2DC3-4EC3-4EBE-A900-8F9AFB1A857F}"/>
    <dgm:cxn modelId="{E479C8C2-92A2-4DAA-9AD2-5A5820A61183}" type="presOf" srcId="{AA6BD06B-13B2-4B3A-93BB-A42D9E41D486}" destId="{AFB47A68-A29D-405C-AB93-9DEB4EF7D1F2}" srcOrd="0" destOrd="0" presId="urn:microsoft.com/office/officeart/2005/8/layout/vList2"/>
    <dgm:cxn modelId="{EDBC4EDB-9C52-4297-A439-EEECA234DC73}" srcId="{F1D22BA4-5309-40B7-91B4-AD3861C4DC04}" destId="{21E5307D-A767-4173-B722-6597349173D8}" srcOrd="2" destOrd="0" parTransId="{B00F9EB5-5FE7-47AA-A220-213B8B7FF2DB}" sibTransId="{0D19CD07-1E69-4796-B84D-C144057C73E8}"/>
    <dgm:cxn modelId="{3CBD13E9-2A01-4541-9DBF-40D98501CE4C}" type="presOf" srcId="{77B95012-64C8-4466-B666-8EF21DD648D7}" destId="{AE9313D6-FA63-4FE1-997B-4E514A784D96}" srcOrd="0" destOrd="0" presId="urn:microsoft.com/office/officeart/2005/8/layout/vList2"/>
    <dgm:cxn modelId="{C9113FED-732A-4913-BD99-40A71BBE1ED3}" srcId="{AA6BD06B-13B2-4B3A-93BB-A42D9E41D486}" destId="{47AEC1D5-1C3A-4EB2-A460-BCB984AF3DE8}" srcOrd="0" destOrd="0" parTransId="{78E51D36-8EC1-4AE4-89E0-F94B1F888F54}" sibTransId="{B3341FE8-5A3D-4BAF-B7A1-E0999BC122E6}"/>
    <dgm:cxn modelId="{F43B5EE3-9C88-45CB-98AC-EB433D3D47B8}" type="presParOf" srcId="{1191A7A7-5FB6-4995-940B-C0464781367C}" destId="{AFB47A68-A29D-405C-AB93-9DEB4EF7D1F2}" srcOrd="0" destOrd="0" presId="urn:microsoft.com/office/officeart/2005/8/layout/vList2"/>
    <dgm:cxn modelId="{A93BF0BA-460B-4E98-B06B-56481B9DB02C}" type="presParOf" srcId="{1191A7A7-5FB6-4995-940B-C0464781367C}" destId="{658B6BB0-E8EA-4408-AC9E-3325D0575900}" srcOrd="1" destOrd="0" presId="urn:microsoft.com/office/officeart/2005/8/layout/vList2"/>
    <dgm:cxn modelId="{93A6B61E-9F33-43FD-BC67-E16F2DBDCD34}" type="presParOf" srcId="{1191A7A7-5FB6-4995-940B-C0464781367C}" destId="{AE9313D6-FA63-4FE1-997B-4E514A784D96}" srcOrd="2" destOrd="0" presId="urn:microsoft.com/office/officeart/2005/8/layout/vList2"/>
    <dgm:cxn modelId="{E30F8F80-6AB6-4FB5-B6AF-816423670776}" type="presParOf" srcId="{1191A7A7-5FB6-4995-940B-C0464781367C}" destId="{E96C37B6-86C2-45EC-8FF4-EB691C894A8E}" srcOrd="3" destOrd="0" presId="urn:microsoft.com/office/officeart/2005/8/layout/vList2"/>
    <dgm:cxn modelId="{6DED944C-D8E7-4B7A-8B47-B1DA827F528F}" type="presParOf" srcId="{1191A7A7-5FB6-4995-940B-C0464781367C}" destId="{D9CC3DE3-71BD-48B4-B213-6A8050FFECF1}" srcOrd="4" destOrd="0" presId="urn:microsoft.com/office/officeart/2005/8/layout/vList2"/>
    <dgm:cxn modelId="{14AB717D-6D1B-4C08-A143-E6E4252B8E6A}" type="presParOf" srcId="{1191A7A7-5FB6-4995-940B-C0464781367C}" destId="{8C0A339F-E849-4301-8049-EE398B667304}"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59BC0D0-5682-4F6C-87C8-DFEAB89D8834}"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D2BEBC5F-871A-4875-B7D5-AAC0896BB920}">
      <dgm:prSet/>
      <dgm:spPr/>
      <dgm:t>
        <a:bodyPr/>
        <a:lstStyle/>
        <a:p>
          <a:r>
            <a:rPr lang="en-GB" b="1" dirty="0"/>
            <a:t>Force Last Good Plan:</a:t>
          </a:r>
          <a:r>
            <a:rPr lang="en-GB" dirty="0"/>
            <a:t> </a:t>
          </a:r>
          <a:endParaRPr lang="en-US" dirty="0"/>
        </a:p>
      </dgm:t>
    </dgm:pt>
    <dgm:pt modelId="{15661EDA-07DC-4524-AC0F-1E451F38FFF1}" type="parTrans" cxnId="{0E0B6437-83F4-4ECC-B5AB-F46B40C7A405}">
      <dgm:prSet/>
      <dgm:spPr/>
      <dgm:t>
        <a:bodyPr/>
        <a:lstStyle/>
        <a:p>
          <a:endParaRPr lang="en-US"/>
        </a:p>
      </dgm:t>
    </dgm:pt>
    <dgm:pt modelId="{71B73C7C-478E-451C-B189-9257635CFEED}" type="sibTrans" cxnId="{0E0B6437-83F4-4ECC-B5AB-F46B40C7A405}">
      <dgm:prSet/>
      <dgm:spPr/>
      <dgm:t>
        <a:bodyPr/>
        <a:lstStyle/>
        <a:p>
          <a:endParaRPr lang="en-US"/>
        </a:p>
      </dgm:t>
    </dgm:pt>
    <dgm:pt modelId="{AD349316-689F-405B-8BA9-CD95C11ADD09}">
      <dgm:prSet/>
      <dgm:spPr/>
      <dgm:t>
        <a:bodyPr/>
        <a:lstStyle/>
        <a:p>
          <a:r>
            <a:rPr lang="en-GB" dirty="0"/>
            <a:t>Identifies and creates Indexes, validates performance improvements and reverts the change if performance degrades.</a:t>
          </a:r>
          <a:endParaRPr lang="en-US" dirty="0"/>
        </a:p>
      </dgm:t>
    </dgm:pt>
    <dgm:pt modelId="{0B43EC16-498B-4248-A702-CF81FB16F9F2}" type="parTrans" cxnId="{A9773F3A-1D0D-4938-AF12-3245434CD584}">
      <dgm:prSet/>
      <dgm:spPr/>
      <dgm:t>
        <a:bodyPr/>
        <a:lstStyle/>
        <a:p>
          <a:endParaRPr lang="en-US"/>
        </a:p>
      </dgm:t>
    </dgm:pt>
    <dgm:pt modelId="{09C07EFD-37DF-466F-8478-F9D8A6B56259}" type="sibTrans" cxnId="{A9773F3A-1D0D-4938-AF12-3245434CD584}">
      <dgm:prSet/>
      <dgm:spPr/>
      <dgm:t>
        <a:bodyPr/>
        <a:lstStyle/>
        <a:p>
          <a:endParaRPr lang="en-US"/>
        </a:p>
      </dgm:t>
    </dgm:pt>
    <dgm:pt modelId="{9938CDD6-DA63-4F0A-8BDE-7795438B97BC}">
      <dgm:prSet/>
      <dgm:spPr/>
      <dgm:t>
        <a:bodyPr/>
        <a:lstStyle/>
        <a:p>
          <a:r>
            <a:rPr lang="en-GB" b="1" dirty="0"/>
            <a:t>Drop Index:</a:t>
          </a:r>
          <a:endParaRPr lang="en-US" dirty="0"/>
        </a:p>
      </dgm:t>
    </dgm:pt>
    <dgm:pt modelId="{B8D51E64-CDAB-4B5B-AC59-908B95C209AC}" type="parTrans" cxnId="{25CD5E39-1751-4B8A-A9D2-B864A08D6CC5}">
      <dgm:prSet/>
      <dgm:spPr/>
      <dgm:t>
        <a:bodyPr/>
        <a:lstStyle/>
        <a:p>
          <a:endParaRPr lang="en-US"/>
        </a:p>
      </dgm:t>
    </dgm:pt>
    <dgm:pt modelId="{9EAB35B6-646C-4EE8-9E6D-81EE673EC03D}" type="sibTrans" cxnId="{25CD5E39-1751-4B8A-A9D2-B864A08D6CC5}">
      <dgm:prSet/>
      <dgm:spPr/>
      <dgm:t>
        <a:bodyPr/>
        <a:lstStyle/>
        <a:p>
          <a:endParaRPr lang="en-US"/>
        </a:p>
      </dgm:t>
    </dgm:pt>
    <dgm:pt modelId="{916655F4-CDCF-4FB4-BCDC-16B9BD7F1109}">
      <dgm:prSet/>
      <dgm:spPr/>
      <dgm:t>
        <a:bodyPr/>
        <a:lstStyle/>
        <a:p>
          <a:r>
            <a:rPr lang="en-GB" dirty="0"/>
            <a:t>Identifies and drops unused Indexes, validates performance improvements and reverts the change if performance degrades.</a:t>
          </a:r>
          <a:endParaRPr lang="en-US" dirty="0"/>
        </a:p>
      </dgm:t>
    </dgm:pt>
    <dgm:pt modelId="{CA2E53BA-F5E0-4EAF-901B-6BFF57188727}" type="parTrans" cxnId="{767AEF81-A7E5-4518-9B02-FF04B082FD10}">
      <dgm:prSet/>
      <dgm:spPr/>
      <dgm:t>
        <a:bodyPr/>
        <a:lstStyle/>
        <a:p>
          <a:endParaRPr lang="en-US"/>
        </a:p>
      </dgm:t>
    </dgm:pt>
    <dgm:pt modelId="{83728A47-F47E-4D3E-BB02-3A3125756CB7}" type="sibTrans" cxnId="{767AEF81-A7E5-4518-9B02-FF04B082FD10}">
      <dgm:prSet/>
      <dgm:spPr/>
      <dgm:t>
        <a:bodyPr/>
        <a:lstStyle/>
        <a:p>
          <a:endParaRPr lang="en-US"/>
        </a:p>
      </dgm:t>
    </dgm:pt>
    <dgm:pt modelId="{4C070600-BD65-470A-87CF-2DBC7BDED149}">
      <dgm:prSet/>
      <dgm:spPr/>
      <dgm:t>
        <a:bodyPr/>
        <a:lstStyle/>
        <a:p>
          <a:r>
            <a:rPr lang="en-GB" dirty="0"/>
            <a:t>Identifies regressed queries due to bad plan and replaces the bad plan with last Good Plan, validates performance improvements and reverts the change if performance does not improve.</a:t>
          </a:r>
          <a:endParaRPr lang="en-US" dirty="0"/>
        </a:p>
      </dgm:t>
    </dgm:pt>
    <dgm:pt modelId="{9863FE90-9A95-4DAE-BD67-CBCE0FF5DBF5}" type="parTrans" cxnId="{306948CD-2687-4759-A6F9-9D9B82F0C65B}">
      <dgm:prSet/>
      <dgm:spPr/>
      <dgm:t>
        <a:bodyPr/>
        <a:lstStyle/>
        <a:p>
          <a:endParaRPr lang="en-US"/>
        </a:p>
      </dgm:t>
    </dgm:pt>
    <dgm:pt modelId="{F32D9CC5-C083-4619-B33C-73CB642F996D}" type="sibTrans" cxnId="{306948CD-2687-4759-A6F9-9D9B82F0C65B}">
      <dgm:prSet/>
      <dgm:spPr/>
      <dgm:t>
        <a:bodyPr/>
        <a:lstStyle/>
        <a:p>
          <a:endParaRPr lang="en-US"/>
        </a:p>
      </dgm:t>
    </dgm:pt>
    <dgm:pt modelId="{044FC4B6-3BA7-4CE0-8063-931409F1B7BB}">
      <dgm:prSet/>
      <dgm:spPr/>
      <dgm:t>
        <a:bodyPr/>
        <a:lstStyle/>
        <a:p>
          <a:r>
            <a:rPr lang="en-GB" b="1"/>
            <a:t>Create Index:</a:t>
          </a:r>
          <a:r>
            <a:rPr lang="en-GB"/>
            <a:t> </a:t>
          </a:r>
          <a:endParaRPr lang="en-US" dirty="0"/>
        </a:p>
      </dgm:t>
    </dgm:pt>
    <dgm:pt modelId="{C88C1D44-6DC3-48BF-A766-3C6908A739CC}" type="parTrans" cxnId="{D2819FE8-BB0B-401C-8D0B-9D633038D5E2}">
      <dgm:prSet/>
      <dgm:spPr/>
      <dgm:t>
        <a:bodyPr/>
        <a:lstStyle/>
        <a:p>
          <a:endParaRPr lang="en-US"/>
        </a:p>
      </dgm:t>
    </dgm:pt>
    <dgm:pt modelId="{78DA22FB-8C2E-49BB-A9F5-DF0D2428469E}" type="sibTrans" cxnId="{D2819FE8-BB0B-401C-8D0B-9D633038D5E2}">
      <dgm:prSet/>
      <dgm:spPr/>
      <dgm:t>
        <a:bodyPr/>
        <a:lstStyle/>
        <a:p>
          <a:endParaRPr lang="en-US"/>
        </a:p>
      </dgm:t>
    </dgm:pt>
    <dgm:pt modelId="{7BE80F4C-D6F5-4080-9393-066A8702C770}">
      <dgm:prSet/>
      <dgm:spPr/>
      <dgm:t>
        <a:bodyPr/>
        <a:lstStyle/>
        <a:p>
          <a:r>
            <a:rPr lang="en-US" b="0" i="0" dirty="0">
              <a:effectLst/>
              <a:latin typeface="+mn-lt"/>
            </a:rPr>
            <a:t>Azure defaults for automatic tuning:</a:t>
          </a:r>
          <a:endParaRPr lang="en-US" dirty="0">
            <a:latin typeface="+mn-lt"/>
          </a:endParaRPr>
        </a:p>
      </dgm:t>
    </dgm:pt>
    <dgm:pt modelId="{B408B637-5894-46A3-BC23-8268BC4A08C1}" type="parTrans" cxnId="{54942FD7-DAAB-4C0A-BD1C-C173B887B62C}">
      <dgm:prSet/>
      <dgm:spPr/>
      <dgm:t>
        <a:bodyPr/>
        <a:lstStyle/>
        <a:p>
          <a:endParaRPr lang="en-US"/>
        </a:p>
      </dgm:t>
    </dgm:pt>
    <dgm:pt modelId="{91AAA8A3-666D-41B3-AB2B-B92C8D4E61BB}" type="sibTrans" cxnId="{54942FD7-DAAB-4C0A-BD1C-C173B887B62C}">
      <dgm:prSet/>
      <dgm:spPr/>
      <dgm:t>
        <a:bodyPr/>
        <a:lstStyle/>
        <a:p>
          <a:endParaRPr lang="en-US"/>
        </a:p>
      </dgm:t>
    </dgm:pt>
    <dgm:pt modelId="{8FE2E229-D8F5-45BE-8187-B37AFC8ABA6E}">
      <dgm:prSet/>
      <dgm:spPr/>
      <dgm:t>
        <a:bodyPr/>
        <a:lstStyle/>
        <a:p>
          <a:r>
            <a:rPr lang="en-US" b="0" i="0" dirty="0">
              <a:effectLst/>
              <a:latin typeface="Segoe UI" panose="020B0502040204020203" pitchFamily="34" charset="0"/>
            </a:rPr>
            <a:t>FORCE_LAST_GOOD_PLAN = enabled, CREATE_INDEX = disabled, and DROP_INDEX = disabled.</a:t>
          </a:r>
        </a:p>
      </dgm:t>
    </dgm:pt>
    <dgm:pt modelId="{F56207CC-DAC3-46A9-A473-7542FA234DF8}" type="parTrans" cxnId="{6387A8F8-2ABC-4C25-BD93-F5AC1AF09016}">
      <dgm:prSet/>
      <dgm:spPr/>
      <dgm:t>
        <a:bodyPr/>
        <a:lstStyle/>
        <a:p>
          <a:endParaRPr lang="en-US"/>
        </a:p>
      </dgm:t>
    </dgm:pt>
    <dgm:pt modelId="{D37628E5-861E-4BF7-92CF-6EA63BC8A338}" type="sibTrans" cxnId="{6387A8F8-2ABC-4C25-BD93-F5AC1AF09016}">
      <dgm:prSet/>
      <dgm:spPr/>
      <dgm:t>
        <a:bodyPr/>
        <a:lstStyle/>
        <a:p>
          <a:endParaRPr lang="en-US"/>
        </a:p>
      </dgm:t>
    </dgm:pt>
    <dgm:pt modelId="{D2CCA4ED-F8D9-4AC1-A9A9-62C9EEB0EF7A}" type="pres">
      <dgm:prSet presAssocID="{859BC0D0-5682-4F6C-87C8-DFEAB89D8834}" presName="linear" presStyleCnt="0">
        <dgm:presLayoutVars>
          <dgm:animLvl val="lvl"/>
          <dgm:resizeHandles val="exact"/>
        </dgm:presLayoutVars>
      </dgm:prSet>
      <dgm:spPr/>
    </dgm:pt>
    <dgm:pt modelId="{509C5CDD-13D0-4971-9C2E-035E71F9BA49}" type="pres">
      <dgm:prSet presAssocID="{D2BEBC5F-871A-4875-B7D5-AAC0896BB920}" presName="parentText" presStyleLbl="node1" presStyleIdx="0" presStyleCnt="4">
        <dgm:presLayoutVars>
          <dgm:chMax val="0"/>
          <dgm:bulletEnabled val="1"/>
        </dgm:presLayoutVars>
      </dgm:prSet>
      <dgm:spPr/>
    </dgm:pt>
    <dgm:pt modelId="{3332498D-B1B4-4BEE-8E10-B14EBD545110}" type="pres">
      <dgm:prSet presAssocID="{D2BEBC5F-871A-4875-B7D5-AAC0896BB920}" presName="childText" presStyleLbl="revTx" presStyleIdx="0" presStyleCnt="4">
        <dgm:presLayoutVars>
          <dgm:bulletEnabled val="1"/>
        </dgm:presLayoutVars>
      </dgm:prSet>
      <dgm:spPr/>
    </dgm:pt>
    <dgm:pt modelId="{24F84A27-EB51-4E4A-967C-A571E610E2AB}" type="pres">
      <dgm:prSet presAssocID="{044FC4B6-3BA7-4CE0-8063-931409F1B7BB}" presName="parentText" presStyleLbl="node1" presStyleIdx="1" presStyleCnt="4">
        <dgm:presLayoutVars>
          <dgm:chMax val="0"/>
          <dgm:bulletEnabled val="1"/>
        </dgm:presLayoutVars>
      </dgm:prSet>
      <dgm:spPr/>
    </dgm:pt>
    <dgm:pt modelId="{70F6EA63-FFDB-4F82-8FF1-8F4E36165235}" type="pres">
      <dgm:prSet presAssocID="{044FC4B6-3BA7-4CE0-8063-931409F1B7BB}" presName="childText" presStyleLbl="revTx" presStyleIdx="1" presStyleCnt="4">
        <dgm:presLayoutVars>
          <dgm:bulletEnabled val="1"/>
        </dgm:presLayoutVars>
      </dgm:prSet>
      <dgm:spPr/>
    </dgm:pt>
    <dgm:pt modelId="{C4AB264D-B8D8-44DC-B1B4-A90DCA65B562}" type="pres">
      <dgm:prSet presAssocID="{9938CDD6-DA63-4F0A-8BDE-7795438B97BC}" presName="parentText" presStyleLbl="node1" presStyleIdx="2" presStyleCnt="4">
        <dgm:presLayoutVars>
          <dgm:chMax val="0"/>
          <dgm:bulletEnabled val="1"/>
        </dgm:presLayoutVars>
      </dgm:prSet>
      <dgm:spPr/>
    </dgm:pt>
    <dgm:pt modelId="{1F25FBA9-B4C3-49F7-A227-0A2C7D63ADB3}" type="pres">
      <dgm:prSet presAssocID="{9938CDD6-DA63-4F0A-8BDE-7795438B97BC}" presName="childText" presStyleLbl="revTx" presStyleIdx="2" presStyleCnt="4">
        <dgm:presLayoutVars>
          <dgm:bulletEnabled val="1"/>
        </dgm:presLayoutVars>
      </dgm:prSet>
      <dgm:spPr/>
    </dgm:pt>
    <dgm:pt modelId="{C45F7A2E-29B1-4862-A1D5-D6DCABFC93BB}" type="pres">
      <dgm:prSet presAssocID="{7BE80F4C-D6F5-4080-9393-066A8702C770}" presName="parentText" presStyleLbl="node1" presStyleIdx="3" presStyleCnt="4">
        <dgm:presLayoutVars>
          <dgm:chMax val="0"/>
          <dgm:bulletEnabled val="1"/>
        </dgm:presLayoutVars>
      </dgm:prSet>
      <dgm:spPr/>
    </dgm:pt>
    <dgm:pt modelId="{286395CE-BBC9-4E7A-B17C-D129F907F13D}" type="pres">
      <dgm:prSet presAssocID="{7BE80F4C-D6F5-4080-9393-066A8702C770}" presName="childText" presStyleLbl="revTx" presStyleIdx="3" presStyleCnt="4">
        <dgm:presLayoutVars>
          <dgm:bulletEnabled val="1"/>
        </dgm:presLayoutVars>
      </dgm:prSet>
      <dgm:spPr/>
    </dgm:pt>
  </dgm:ptLst>
  <dgm:cxnLst>
    <dgm:cxn modelId="{6EDF6207-AF6B-4B72-912C-DAD58D0BE513}" type="presOf" srcId="{044FC4B6-3BA7-4CE0-8063-931409F1B7BB}" destId="{24F84A27-EB51-4E4A-967C-A571E610E2AB}" srcOrd="0" destOrd="0" presId="urn:microsoft.com/office/officeart/2005/8/layout/vList2"/>
    <dgm:cxn modelId="{0E0B6437-83F4-4ECC-B5AB-F46B40C7A405}" srcId="{859BC0D0-5682-4F6C-87C8-DFEAB89D8834}" destId="{D2BEBC5F-871A-4875-B7D5-AAC0896BB920}" srcOrd="0" destOrd="0" parTransId="{15661EDA-07DC-4524-AC0F-1E451F38FFF1}" sibTransId="{71B73C7C-478E-451C-B189-9257635CFEED}"/>
    <dgm:cxn modelId="{25CD5E39-1751-4B8A-A9D2-B864A08D6CC5}" srcId="{859BC0D0-5682-4F6C-87C8-DFEAB89D8834}" destId="{9938CDD6-DA63-4F0A-8BDE-7795438B97BC}" srcOrd="2" destOrd="0" parTransId="{B8D51E64-CDAB-4B5B-AC59-908B95C209AC}" sibTransId="{9EAB35B6-646C-4EE8-9E6D-81EE673EC03D}"/>
    <dgm:cxn modelId="{A9773F3A-1D0D-4938-AF12-3245434CD584}" srcId="{044FC4B6-3BA7-4CE0-8063-931409F1B7BB}" destId="{AD349316-689F-405B-8BA9-CD95C11ADD09}" srcOrd="0" destOrd="0" parTransId="{0B43EC16-498B-4248-A702-CF81FB16F9F2}" sibTransId="{09C07EFD-37DF-466F-8478-F9D8A6B56259}"/>
    <dgm:cxn modelId="{C6C52642-A9F2-4B32-87AF-5500EF1C70A0}" type="presOf" srcId="{AD349316-689F-405B-8BA9-CD95C11ADD09}" destId="{70F6EA63-FFDB-4F82-8FF1-8F4E36165235}" srcOrd="0" destOrd="0" presId="urn:microsoft.com/office/officeart/2005/8/layout/vList2"/>
    <dgm:cxn modelId="{115D3970-54DB-44D4-AA0C-39DE62C0E203}" type="presOf" srcId="{859BC0D0-5682-4F6C-87C8-DFEAB89D8834}" destId="{D2CCA4ED-F8D9-4AC1-A9A9-62C9EEB0EF7A}" srcOrd="0" destOrd="0" presId="urn:microsoft.com/office/officeart/2005/8/layout/vList2"/>
    <dgm:cxn modelId="{16A0D880-83DF-4080-8D69-26B8D3600689}" type="presOf" srcId="{916655F4-CDCF-4FB4-BCDC-16B9BD7F1109}" destId="{1F25FBA9-B4C3-49F7-A227-0A2C7D63ADB3}" srcOrd="0" destOrd="0" presId="urn:microsoft.com/office/officeart/2005/8/layout/vList2"/>
    <dgm:cxn modelId="{767AEF81-A7E5-4518-9B02-FF04B082FD10}" srcId="{9938CDD6-DA63-4F0A-8BDE-7795438B97BC}" destId="{916655F4-CDCF-4FB4-BCDC-16B9BD7F1109}" srcOrd="0" destOrd="0" parTransId="{CA2E53BA-F5E0-4EAF-901B-6BFF57188727}" sibTransId="{83728A47-F47E-4D3E-BB02-3A3125756CB7}"/>
    <dgm:cxn modelId="{F8B8B9B5-65D1-4301-A78B-D94E4475D086}" type="presOf" srcId="{4C070600-BD65-470A-87CF-2DBC7BDED149}" destId="{3332498D-B1B4-4BEE-8E10-B14EBD545110}" srcOrd="0" destOrd="0" presId="urn:microsoft.com/office/officeart/2005/8/layout/vList2"/>
    <dgm:cxn modelId="{F35798BE-9859-42D6-B1A6-81C186B030AA}" type="presOf" srcId="{7BE80F4C-D6F5-4080-9393-066A8702C770}" destId="{C45F7A2E-29B1-4862-A1D5-D6DCABFC93BB}" srcOrd="0" destOrd="0" presId="urn:microsoft.com/office/officeart/2005/8/layout/vList2"/>
    <dgm:cxn modelId="{C65672BF-2560-4E03-B4B2-F0FBD888FA5F}" type="presOf" srcId="{9938CDD6-DA63-4F0A-8BDE-7795438B97BC}" destId="{C4AB264D-B8D8-44DC-B1B4-A90DCA65B562}" srcOrd="0" destOrd="0" presId="urn:microsoft.com/office/officeart/2005/8/layout/vList2"/>
    <dgm:cxn modelId="{306948CD-2687-4759-A6F9-9D9B82F0C65B}" srcId="{D2BEBC5F-871A-4875-B7D5-AAC0896BB920}" destId="{4C070600-BD65-470A-87CF-2DBC7BDED149}" srcOrd="0" destOrd="0" parTransId="{9863FE90-9A95-4DAE-BD67-CBCE0FF5DBF5}" sibTransId="{F32D9CC5-C083-4619-B33C-73CB642F996D}"/>
    <dgm:cxn modelId="{54942FD7-DAAB-4C0A-BD1C-C173B887B62C}" srcId="{859BC0D0-5682-4F6C-87C8-DFEAB89D8834}" destId="{7BE80F4C-D6F5-4080-9393-066A8702C770}" srcOrd="3" destOrd="0" parTransId="{B408B637-5894-46A3-BC23-8268BC4A08C1}" sibTransId="{91AAA8A3-666D-41B3-AB2B-B92C8D4E61BB}"/>
    <dgm:cxn modelId="{D2819FE8-BB0B-401C-8D0B-9D633038D5E2}" srcId="{859BC0D0-5682-4F6C-87C8-DFEAB89D8834}" destId="{044FC4B6-3BA7-4CE0-8063-931409F1B7BB}" srcOrd="1" destOrd="0" parTransId="{C88C1D44-6DC3-48BF-A766-3C6908A739CC}" sibTransId="{78DA22FB-8C2E-49BB-A9F5-DF0D2428469E}"/>
    <dgm:cxn modelId="{162D7DF5-8E90-48A8-A4ED-FB9848C1AC98}" type="presOf" srcId="{8FE2E229-D8F5-45BE-8187-B37AFC8ABA6E}" destId="{286395CE-BBC9-4E7A-B17C-D129F907F13D}" srcOrd="0" destOrd="0" presId="urn:microsoft.com/office/officeart/2005/8/layout/vList2"/>
    <dgm:cxn modelId="{C9D78FF8-207F-40E6-A031-7781B63114F0}" type="presOf" srcId="{D2BEBC5F-871A-4875-B7D5-AAC0896BB920}" destId="{509C5CDD-13D0-4971-9C2E-035E71F9BA49}" srcOrd="0" destOrd="0" presId="urn:microsoft.com/office/officeart/2005/8/layout/vList2"/>
    <dgm:cxn modelId="{6387A8F8-2ABC-4C25-BD93-F5AC1AF09016}" srcId="{7BE80F4C-D6F5-4080-9393-066A8702C770}" destId="{8FE2E229-D8F5-45BE-8187-B37AFC8ABA6E}" srcOrd="0" destOrd="0" parTransId="{F56207CC-DAC3-46A9-A473-7542FA234DF8}" sibTransId="{D37628E5-861E-4BF7-92CF-6EA63BC8A338}"/>
    <dgm:cxn modelId="{19E5122F-6288-42C5-A45B-765F0EA88C62}" type="presParOf" srcId="{D2CCA4ED-F8D9-4AC1-A9A9-62C9EEB0EF7A}" destId="{509C5CDD-13D0-4971-9C2E-035E71F9BA49}" srcOrd="0" destOrd="0" presId="urn:microsoft.com/office/officeart/2005/8/layout/vList2"/>
    <dgm:cxn modelId="{AD5D4C57-2098-4241-BD25-A2603FFC1A10}" type="presParOf" srcId="{D2CCA4ED-F8D9-4AC1-A9A9-62C9EEB0EF7A}" destId="{3332498D-B1B4-4BEE-8E10-B14EBD545110}" srcOrd="1" destOrd="0" presId="urn:microsoft.com/office/officeart/2005/8/layout/vList2"/>
    <dgm:cxn modelId="{D0531E4A-A42B-4D0A-B220-D5CF8EA189CA}" type="presParOf" srcId="{D2CCA4ED-F8D9-4AC1-A9A9-62C9EEB0EF7A}" destId="{24F84A27-EB51-4E4A-967C-A571E610E2AB}" srcOrd="2" destOrd="0" presId="urn:microsoft.com/office/officeart/2005/8/layout/vList2"/>
    <dgm:cxn modelId="{2C7D06B9-8820-4CA2-8DC4-410B51FC1C74}" type="presParOf" srcId="{D2CCA4ED-F8D9-4AC1-A9A9-62C9EEB0EF7A}" destId="{70F6EA63-FFDB-4F82-8FF1-8F4E36165235}" srcOrd="3" destOrd="0" presId="urn:microsoft.com/office/officeart/2005/8/layout/vList2"/>
    <dgm:cxn modelId="{5D05587A-41F8-4E4E-BB8D-2CFCC5A05C12}" type="presParOf" srcId="{D2CCA4ED-F8D9-4AC1-A9A9-62C9EEB0EF7A}" destId="{C4AB264D-B8D8-44DC-B1B4-A90DCA65B562}" srcOrd="4" destOrd="0" presId="urn:microsoft.com/office/officeart/2005/8/layout/vList2"/>
    <dgm:cxn modelId="{64ACA453-6839-4675-8DAF-A7F16249EBA3}" type="presParOf" srcId="{D2CCA4ED-F8D9-4AC1-A9A9-62C9EEB0EF7A}" destId="{1F25FBA9-B4C3-49F7-A227-0A2C7D63ADB3}" srcOrd="5" destOrd="0" presId="urn:microsoft.com/office/officeart/2005/8/layout/vList2"/>
    <dgm:cxn modelId="{6FF1C3CC-EB7C-4425-ABA1-17CA51A778D8}" type="presParOf" srcId="{D2CCA4ED-F8D9-4AC1-A9A9-62C9EEB0EF7A}" destId="{C45F7A2E-29B1-4862-A1D5-D6DCABFC93BB}" srcOrd="6" destOrd="0" presId="urn:microsoft.com/office/officeart/2005/8/layout/vList2"/>
    <dgm:cxn modelId="{38ABB307-9E68-435C-910D-C828234EFD0E}" type="presParOf" srcId="{D2CCA4ED-F8D9-4AC1-A9A9-62C9EEB0EF7A}" destId="{286395CE-BBC9-4E7A-B17C-D129F907F13D}"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59BC0D0-5682-4F6C-87C8-DFEAB89D8834}"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78A643FB-31B5-44C5-AC40-35AF5453A3EB}">
      <dgm:prSet/>
      <dgm:spPr/>
      <dgm:t>
        <a:bodyPr/>
        <a:lstStyle/>
        <a:p>
          <a:r>
            <a:rPr lang="en-US" baseline="0" dirty="0"/>
            <a:t>The alert triggers when the value of a specified metric crosses a threshold you assigned in either direction. It triggers when the condition is first met and then when that condition is no longer being met.	</a:t>
          </a:r>
          <a:endParaRPr lang="en-US" dirty="0"/>
        </a:p>
      </dgm:t>
    </dgm:pt>
    <dgm:pt modelId="{58FB2CF4-41B0-4F9E-BFA2-C701068F5224}" type="parTrans" cxnId="{80BFD3E1-0BA5-4709-A906-60E01F349555}">
      <dgm:prSet/>
      <dgm:spPr/>
      <dgm:t>
        <a:bodyPr/>
        <a:lstStyle/>
        <a:p>
          <a:endParaRPr lang="en-US"/>
        </a:p>
      </dgm:t>
    </dgm:pt>
    <dgm:pt modelId="{B4206327-E851-4C20-A845-6A9D8D52F648}" type="sibTrans" cxnId="{80BFD3E1-0BA5-4709-A906-60E01F349555}">
      <dgm:prSet/>
      <dgm:spPr/>
      <dgm:t>
        <a:bodyPr/>
        <a:lstStyle/>
        <a:p>
          <a:endParaRPr lang="en-US"/>
        </a:p>
      </dgm:t>
    </dgm:pt>
    <dgm:pt modelId="{D9F1AA40-092D-4E47-9625-2363DA90CF20}">
      <dgm:prSet/>
      <dgm:spPr/>
      <dgm:t>
        <a:bodyPr/>
        <a:lstStyle/>
        <a:p>
          <a:r>
            <a:rPr lang="en-US" baseline="0" dirty="0"/>
            <a:t>Activity log events </a:t>
          </a:r>
          <a:endParaRPr lang="en-US" dirty="0"/>
        </a:p>
      </dgm:t>
    </dgm:pt>
    <dgm:pt modelId="{851AECC8-4E98-4DEF-B92D-CD3157264E5D}" type="parTrans" cxnId="{00DC1879-C906-4FD3-8127-C74C574736A6}">
      <dgm:prSet/>
      <dgm:spPr/>
      <dgm:t>
        <a:bodyPr/>
        <a:lstStyle/>
        <a:p>
          <a:endParaRPr lang="en-US"/>
        </a:p>
      </dgm:t>
    </dgm:pt>
    <dgm:pt modelId="{CB08B230-D67B-41AB-BEDA-0DC4029A08B6}" type="sibTrans" cxnId="{00DC1879-C906-4FD3-8127-C74C574736A6}">
      <dgm:prSet/>
      <dgm:spPr/>
      <dgm:t>
        <a:bodyPr/>
        <a:lstStyle/>
        <a:p>
          <a:endParaRPr lang="en-US"/>
        </a:p>
      </dgm:t>
    </dgm:pt>
    <dgm:pt modelId="{329ACD72-0139-4341-9700-9225748B0BFC}">
      <dgm:prSet/>
      <dgm:spPr/>
      <dgm:t>
        <a:bodyPr/>
        <a:lstStyle/>
        <a:p>
          <a:r>
            <a:rPr lang="en-US" baseline="0" dirty="0"/>
            <a:t>An alert can trigger on every event, or, only when a certain number of events occur.</a:t>
          </a:r>
          <a:endParaRPr lang="en-US" dirty="0"/>
        </a:p>
      </dgm:t>
    </dgm:pt>
    <dgm:pt modelId="{D2690F6C-9951-4F6F-957D-78D25260649C}" type="parTrans" cxnId="{9F02AB6D-5EAD-4FAA-87AE-0BB990C1DA2B}">
      <dgm:prSet/>
      <dgm:spPr/>
      <dgm:t>
        <a:bodyPr/>
        <a:lstStyle/>
        <a:p>
          <a:endParaRPr lang="en-US"/>
        </a:p>
      </dgm:t>
    </dgm:pt>
    <dgm:pt modelId="{DC5C4249-34BE-4689-A991-34EA087AD432}" type="sibTrans" cxnId="{9F02AB6D-5EAD-4FAA-87AE-0BB990C1DA2B}">
      <dgm:prSet/>
      <dgm:spPr/>
      <dgm:t>
        <a:bodyPr/>
        <a:lstStyle/>
        <a:p>
          <a:endParaRPr lang="en-US"/>
        </a:p>
      </dgm:t>
    </dgm:pt>
    <dgm:pt modelId="{7058A00B-84AD-416B-8779-6E8E01C7C391}">
      <dgm:prSet/>
      <dgm:spPr/>
      <dgm:t>
        <a:bodyPr/>
        <a:lstStyle/>
        <a:p>
          <a:r>
            <a:rPr lang="en-US" dirty="0"/>
            <a:t>You can configure an alert to do the following when it triggers:</a:t>
          </a:r>
        </a:p>
      </dgm:t>
    </dgm:pt>
    <dgm:pt modelId="{616FC5A2-7E8A-4A85-83FA-A98F032B776B}" type="parTrans" cxnId="{5B7CFC99-392E-4802-AD08-939278686CA1}">
      <dgm:prSet/>
      <dgm:spPr/>
      <dgm:t>
        <a:bodyPr/>
        <a:lstStyle/>
        <a:p>
          <a:endParaRPr lang="en-US"/>
        </a:p>
      </dgm:t>
    </dgm:pt>
    <dgm:pt modelId="{247F2956-734B-402A-8767-EC1ED8371C52}" type="sibTrans" cxnId="{5B7CFC99-392E-4802-AD08-939278686CA1}">
      <dgm:prSet/>
      <dgm:spPr/>
      <dgm:t>
        <a:bodyPr/>
        <a:lstStyle/>
        <a:p>
          <a:endParaRPr lang="en-US"/>
        </a:p>
      </dgm:t>
    </dgm:pt>
    <dgm:pt modelId="{63DAF0B8-D061-42FB-BE9A-B7B6751EB363}">
      <dgm:prSet/>
      <dgm:spPr/>
      <dgm:t>
        <a:bodyPr/>
        <a:lstStyle/>
        <a:p>
          <a:r>
            <a:rPr lang="en-US" dirty="0"/>
            <a:t>Send email notifications to the service administrator and co-administrators.</a:t>
          </a:r>
        </a:p>
      </dgm:t>
    </dgm:pt>
    <dgm:pt modelId="{C1B02812-365D-4963-BF71-0D342ECE6AA3}" type="parTrans" cxnId="{1D888B26-3333-47D7-BA99-C0E50B782AF9}">
      <dgm:prSet/>
      <dgm:spPr/>
      <dgm:t>
        <a:bodyPr/>
        <a:lstStyle/>
        <a:p>
          <a:endParaRPr lang="en-US"/>
        </a:p>
      </dgm:t>
    </dgm:pt>
    <dgm:pt modelId="{4C6E7FD0-24F6-4022-B32A-D89C76E93D63}" type="sibTrans" cxnId="{1D888B26-3333-47D7-BA99-C0E50B782AF9}">
      <dgm:prSet/>
      <dgm:spPr/>
      <dgm:t>
        <a:bodyPr/>
        <a:lstStyle/>
        <a:p>
          <a:endParaRPr lang="en-US"/>
        </a:p>
      </dgm:t>
    </dgm:pt>
    <dgm:pt modelId="{F29025E4-89A3-4C12-B472-64CE6F18504A}">
      <dgm:prSet/>
      <dgm:spPr/>
      <dgm:t>
        <a:bodyPr/>
        <a:lstStyle/>
        <a:p>
          <a:r>
            <a:rPr lang="en-US" dirty="0"/>
            <a:t>Send email to additional emails that you specify.</a:t>
          </a:r>
        </a:p>
      </dgm:t>
    </dgm:pt>
    <dgm:pt modelId="{DF0B80E3-F383-4AF4-811B-FCCA24539C45}" type="parTrans" cxnId="{A0CE7592-F31A-4493-98E8-D1D35785F474}">
      <dgm:prSet/>
      <dgm:spPr/>
      <dgm:t>
        <a:bodyPr/>
        <a:lstStyle/>
        <a:p>
          <a:endParaRPr lang="en-US"/>
        </a:p>
      </dgm:t>
    </dgm:pt>
    <dgm:pt modelId="{0119872C-A067-4BCE-BD68-F6B37E6E626B}" type="sibTrans" cxnId="{A0CE7592-F31A-4493-98E8-D1D35785F474}">
      <dgm:prSet/>
      <dgm:spPr/>
      <dgm:t>
        <a:bodyPr/>
        <a:lstStyle/>
        <a:p>
          <a:endParaRPr lang="en-US"/>
        </a:p>
      </dgm:t>
    </dgm:pt>
    <dgm:pt modelId="{F9BB3DD2-7E7E-473A-AC6C-56FBEC8D0491}">
      <dgm:prSet/>
      <dgm:spPr/>
      <dgm:t>
        <a:bodyPr/>
        <a:lstStyle/>
        <a:p>
          <a:r>
            <a:rPr lang="en-US" dirty="0"/>
            <a:t>Call a webhook</a:t>
          </a:r>
        </a:p>
      </dgm:t>
    </dgm:pt>
    <dgm:pt modelId="{4D59F931-EB7C-4B76-9359-38EF9D4833EC}" type="parTrans" cxnId="{20BF22E9-F1A3-41AA-9599-F72F044D82D1}">
      <dgm:prSet/>
      <dgm:spPr/>
      <dgm:t>
        <a:bodyPr/>
        <a:lstStyle/>
        <a:p>
          <a:endParaRPr lang="en-US"/>
        </a:p>
      </dgm:t>
    </dgm:pt>
    <dgm:pt modelId="{DA322FCA-93E0-4AB6-9A8F-E339831B045E}" type="sibTrans" cxnId="{20BF22E9-F1A3-41AA-9599-F72F044D82D1}">
      <dgm:prSet/>
      <dgm:spPr/>
      <dgm:t>
        <a:bodyPr/>
        <a:lstStyle/>
        <a:p>
          <a:endParaRPr lang="en-US"/>
        </a:p>
      </dgm:t>
    </dgm:pt>
    <dgm:pt modelId="{A51722DB-A1FB-458F-B8F7-B92322387E2D}">
      <dgm:prSet/>
      <dgm:spPr/>
      <dgm:t>
        <a:bodyPr/>
        <a:lstStyle/>
        <a:p>
          <a:r>
            <a:rPr lang="en-US" baseline="0" dirty="0"/>
            <a:t>Metric values alerts</a:t>
          </a:r>
          <a:endParaRPr lang="en-US" dirty="0"/>
        </a:p>
      </dgm:t>
    </dgm:pt>
    <dgm:pt modelId="{AF73D586-5C1A-496D-A31D-916CE991945B}" type="parTrans" cxnId="{B84165E4-8C37-4418-B7CA-57993B8C8A2E}">
      <dgm:prSet/>
      <dgm:spPr/>
      <dgm:t>
        <a:bodyPr/>
        <a:lstStyle/>
        <a:p>
          <a:endParaRPr lang="en-US"/>
        </a:p>
      </dgm:t>
    </dgm:pt>
    <dgm:pt modelId="{EED675E6-7263-4F15-A0AF-B39681BB687E}" type="sibTrans" cxnId="{B84165E4-8C37-4418-B7CA-57993B8C8A2E}">
      <dgm:prSet/>
      <dgm:spPr/>
      <dgm:t>
        <a:bodyPr/>
        <a:lstStyle/>
        <a:p>
          <a:endParaRPr lang="en-US"/>
        </a:p>
      </dgm:t>
    </dgm:pt>
    <dgm:pt modelId="{31B604CB-DA07-47D0-9BF2-A63EFFFE6CDC}" type="pres">
      <dgm:prSet presAssocID="{859BC0D0-5682-4F6C-87C8-DFEAB89D8834}" presName="Name0" presStyleCnt="0">
        <dgm:presLayoutVars>
          <dgm:dir/>
          <dgm:animLvl val="lvl"/>
          <dgm:resizeHandles val="exact"/>
        </dgm:presLayoutVars>
      </dgm:prSet>
      <dgm:spPr/>
    </dgm:pt>
    <dgm:pt modelId="{8C284D5B-4EE6-4742-A90F-2CAD9E7BE193}" type="pres">
      <dgm:prSet presAssocID="{A51722DB-A1FB-458F-B8F7-B92322387E2D}" presName="composite" presStyleCnt="0"/>
      <dgm:spPr/>
    </dgm:pt>
    <dgm:pt modelId="{E347A027-BD9E-417A-BCFA-7BA31D32F99F}" type="pres">
      <dgm:prSet presAssocID="{A51722DB-A1FB-458F-B8F7-B92322387E2D}" presName="parTx" presStyleLbl="alignNode1" presStyleIdx="0" presStyleCnt="3">
        <dgm:presLayoutVars>
          <dgm:chMax val="0"/>
          <dgm:chPref val="0"/>
          <dgm:bulletEnabled val="1"/>
        </dgm:presLayoutVars>
      </dgm:prSet>
      <dgm:spPr/>
    </dgm:pt>
    <dgm:pt modelId="{D9453E2C-32B3-47C2-8FEE-31D459BE86DC}" type="pres">
      <dgm:prSet presAssocID="{A51722DB-A1FB-458F-B8F7-B92322387E2D}" presName="desTx" presStyleLbl="alignAccFollowNode1" presStyleIdx="0" presStyleCnt="3">
        <dgm:presLayoutVars>
          <dgm:bulletEnabled val="1"/>
        </dgm:presLayoutVars>
      </dgm:prSet>
      <dgm:spPr/>
    </dgm:pt>
    <dgm:pt modelId="{745471EF-C93B-4665-9992-7CE7B29AB720}" type="pres">
      <dgm:prSet presAssocID="{EED675E6-7263-4F15-A0AF-B39681BB687E}" presName="space" presStyleCnt="0"/>
      <dgm:spPr/>
    </dgm:pt>
    <dgm:pt modelId="{37E77B9C-E21B-497F-B8FD-49524F400A2E}" type="pres">
      <dgm:prSet presAssocID="{D9F1AA40-092D-4E47-9625-2363DA90CF20}" presName="composite" presStyleCnt="0"/>
      <dgm:spPr/>
    </dgm:pt>
    <dgm:pt modelId="{9FCC834B-8A80-45A4-8342-96F22C84D484}" type="pres">
      <dgm:prSet presAssocID="{D9F1AA40-092D-4E47-9625-2363DA90CF20}" presName="parTx" presStyleLbl="alignNode1" presStyleIdx="1" presStyleCnt="3">
        <dgm:presLayoutVars>
          <dgm:chMax val="0"/>
          <dgm:chPref val="0"/>
          <dgm:bulletEnabled val="1"/>
        </dgm:presLayoutVars>
      </dgm:prSet>
      <dgm:spPr/>
    </dgm:pt>
    <dgm:pt modelId="{C8A344EA-0CBB-427F-8FA2-E76C56108E3A}" type="pres">
      <dgm:prSet presAssocID="{D9F1AA40-092D-4E47-9625-2363DA90CF20}" presName="desTx" presStyleLbl="alignAccFollowNode1" presStyleIdx="1" presStyleCnt="3">
        <dgm:presLayoutVars>
          <dgm:bulletEnabled val="1"/>
        </dgm:presLayoutVars>
      </dgm:prSet>
      <dgm:spPr/>
    </dgm:pt>
    <dgm:pt modelId="{2CCA5797-1846-4DA5-816E-8765DE114F3A}" type="pres">
      <dgm:prSet presAssocID="{CB08B230-D67B-41AB-BEDA-0DC4029A08B6}" presName="space" presStyleCnt="0"/>
      <dgm:spPr/>
    </dgm:pt>
    <dgm:pt modelId="{6A92A96F-6DDF-4E08-946A-C2B01EB272AD}" type="pres">
      <dgm:prSet presAssocID="{7058A00B-84AD-416B-8779-6E8E01C7C391}" presName="composite" presStyleCnt="0"/>
      <dgm:spPr/>
    </dgm:pt>
    <dgm:pt modelId="{2DD0A4DA-34F6-4870-9955-E744378978E1}" type="pres">
      <dgm:prSet presAssocID="{7058A00B-84AD-416B-8779-6E8E01C7C391}" presName="parTx" presStyleLbl="alignNode1" presStyleIdx="2" presStyleCnt="3">
        <dgm:presLayoutVars>
          <dgm:chMax val="0"/>
          <dgm:chPref val="0"/>
          <dgm:bulletEnabled val="1"/>
        </dgm:presLayoutVars>
      </dgm:prSet>
      <dgm:spPr/>
    </dgm:pt>
    <dgm:pt modelId="{8B2E157F-E349-4E22-94CB-A4785584BBFB}" type="pres">
      <dgm:prSet presAssocID="{7058A00B-84AD-416B-8779-6E8E01C7C391}" presName="desTx" presStyleLbl="alignAccFollowNode1" presStyleIdx="2" presStyleCnt="3">
        <dgm:presLayoutVars>
          <dgm:bulletEnabled val="1"/>
        </dgm:presLayoutVars>
      </dgm:prSet>
      <dgm:spPr/>
    </dgm:pt>
  </dgm:ptLst>
  <dgm:cxnLst>
    <dgm:cxn modelId="{1D888B26-3333-47D7-BA99-C0E50B782AF9}" srcId="{7058A00B-84AD-416B-8779-6E8E01C7C391}" destId="{63DAF0B8-D061-42FB-BE9A-B7B6751EB363}" srcOrd="0" destOrd="0" parTransId="{C1B02812-365D-4963-BF71-0D342ECE6AA3}" sibTransId="{4C6E7FD0-24F6-4022-B32A-D89C76E93D63}"/>
    <dgm:cxn modelId="{72D94928-380C-483D-B3A2-3F1591F23956}" type="presOf" srcId="{859BC0D0-5682-4F6C-87C8-DFEAB89D8834}" destId="{31B604CB-DA07-47D0-9BF2-A63EFFFE6CDC}" srcOrd="0" destOrd="0" presId="urn:microsoft.com/office/officeart/2005/8/layout/hList1"/>
    <dgm:cxn modelId="{79D60F68-21EB-4F13-BE93-66430867194F}" type="presOf" srcId="{D9F1AA40-092D-4E47-9625-2363DA90CF20}" destId="{9FCC834B-8A80-45A4-8342-96F22C84D484}" srcOrd="0" destOrd="0" presId="urn:microsoft.com/office/officeart/2005/8/layout/hList1"/>
    <dgm:cxn modelId="{9F02AB6D-5EAD-4FAA-87AE-0BB990C1DA2B}" srcId="{D9F1AA40-092D-4E47-9625-2363DA90CF20}" destId="{329ACD72-0139-4341-9700-9225748B0BFC}" srcOrd="0" destOrd="0" parTransId="{D2690F6C-9951-4F6F-957D-78D25260649C}" sibTransId="{DC5C4249-34BE-4689-A991-34EA087AD432}"/>
    <dgm:cxn modelId="{00DC1879-C906-4FD3-8127-C74C574736A6}" srcId="{859BC0D0-5682-4F6C-87C8-DFEAB89D8834}" destId="{D9F1AA40-092D-4E47-9625-2363DA90CF20}" srcOrd="1" destOrd="0" parTransId="{851AECC8-4E98-4DEF-B92D-CD3157264E5D}" sibTransId="{CB08B230-D67B-41AB-BEDA-0DC4029A08B6}"/>
    <dgm:cxn modelId="{A0CE7592-F31A-4493-98E8-D1D35785F474}" srcId="{7058A00B-84AD-416B-8779-6E8E01C7C391}" destId="{F29025E4-89A3-4C12-B472-64CE6F18504A}" srcOrd="1" destOrd="0" parTransId="{DF0B80E3-F383-4AF4-811B-FCCA24539C45}" sibTransId="{0119872C-A067-4BCE-BD68-F6B37E6E626B}"/>
    <dgm:cxn modelId="{5B7CFC99-392E-4802-AD08-939278686CA1}" srcId="{859BC0D0-5682-4F6C-87C8-DFEAB89D8834}" destId="{7058A00B-84AD-416B-8779-6E8E01C7C391}" srcOrd="2" destOrd="0" parTransId="{616FC5A2-7E8A-4A85-83FA-A98F032B776B}" sibTransId="{247F2956-734B-402A-8767-EC1ED8371C52}"/>
    <dgm:cxn modelId="{B18A4FB2-3C71-4DB1-80B1-AC585AA06090}" type="presOf" srcId="{F29025E4-89A3-4C12-B472-64CE6F18504A}" destId="{8B2E157F-E349-4E22-94CB-A4785584BBFB}" srcOrd="0" destOrd="1" presId="urn:microsoft.com/office/officeart/2005/8/layout/hList1"/>
    <dgm:cxn modelId="{246BA9CB-5D4E-41B4-8A8B-AB32734A9C92}" type="presOf" srcId="{63DAF0B8-D061-42FB-BE9A-B7B6751EB363}" destId="{8B2E157F-E349-4E22-94CB-A4785584BBFB}" srcOrd="0" destOrd="0" presId="urn:microsoft.com/office/officeart/2005/8/layout/hList1"/>
    <dgm:cxn modelId="{80BFD3E1-0BA5-4709-A906-60E01F349555}" srcId="{A51722DB-A1FB-458F-B8F7-B92322387E2D}" destId="{78A643FB-31B5-44C5-AC40-35AF5453A3EB}" srcOrd="0" destOrd="0" parTransId="{58FB2CF4-41B0-4F9E-BFA2-C701068F5224}" sibTransId="{B4206327-E851-4C20-A845-6A9D8D52F648}"/>
    <dgm:cxn modelId="{7B44BCE3-BEFF-4B76-924E-BC89FEC8FAC0}" type="presOf" srcId="{F9BB3DD2-7E7E-473A-AC6C-56FBEC8D0491}" destId="{8B2E157F-E349-4E22-94CB-A4785584BBFB}" srcOrd="0" destOrd="2" presId="urn:microsoft.com/office/officeart/2005/8/layout/hList1"/>
    <dgm:cxn modelId="{B84165E4-8C37-4418-B7CA-57993B8C8A2E}" srcId="{859BC0D0-5682-4F6C-87C8-DFEAB89D8834}" destId="{A51722DB-A1FB-458F-B8F7-B92322387E2D}" srcOrd="0" destOrd="0" parTransId="{AF73D586-5C1A-496D-A31D-916CE991945B}" sibTransId="{EED675E6-7263-4F15-A0AF-B39681BB687E}"/>
    <dgm:cxn modelId="{2B943FE5-6433-4B82-B261-F485757E7B76}" type="presOf" srcId="{329ACD72-0139-4341-9700-9225748B0BFC}" destId="{C8A344EA-0CBB-427F-8FA2-E76C56108E3A}" srcOrd="0" destOrd="0" presId="urn:microsoft.com/office/officeart/2005/8/layout/hList1"/>
    <dgm:cxn modelId="{20BF22E9-F1A3-41AA-9599-F72F044D82D1}" srcId="{7058A00B-84AD-416B-8779-6E8E01C7C391}" destId="{F9BB3DD2-7E7E-473A-AC6C-56FBEC8D0491}" srcOrd="2" destOrd="0" parTransId="{4D59F931-EB7C-4B76-9359-38EF9D4833EC}" sibTransId="{DA322FCA-93E0-4AB6-9A8F-E339831B045E}"/>
    <dgm:cxn modelId="{41B085ED-3141-44BD-AEF4-2AB007F1B61C}" type="presOf" srcId="{7058A00B-84AD-416B-8779-6E8E01C7C391}" destId="{2DD0A4DA-34F6-4870-9955-E744378978E1}" srcOrd="0" destOrd="0" presId="urn:microsoft.com/office/officeart/2005/8/layout/hList1"/>
    <dgm:cxn modelId="{23956EF5-61A7-41D8-8D2C-339013F06D99}" type="presOf" srcId="{78A643FB-31B5-44C5-AC40-35AF5453A3EB}" destId="{D9453E2C-32B3-47C2-8FEE-31D459BE86DC}" srcOrd="0" destOrd="0" presId="urn:microsoft.com/office/officeart/2005/8/layout/hList1"/>
    <dgm:cxn modelId="{D8B592F7-D665-43F4-8621-105452580D1D}" type="presOf" srcId="{A51722DB-A1FB-458F-B8F7-B92322387E2D}" destId="{E347A027-BD9E-417A-BCFA-7BA31D32F99F}" srcOrd="0" destOrd="0" presId="urn:microsoft.com/office/officeart/2005/8/layout/hList1"/>
    <dgm:cxn modelId="{24926D6A-7377-4C88-84D3-E97B557048AB}" type="presParOf" srcId="{31B604CB-DA07-47D0-9BF2-A63EFFFE6CDC}" destId="{8C284D5B-4EE6-4742-A90F-2CAD9E7BE193}" srcOrd="0" destOrd="0" presId="urn:microsoft.com/office/officeart/2005/8/layout/hList1"/>
    <dgm:cxn modelId="{065DF7A9-E901-4705-82D9-92EDB6365721}" type="presParOf" srcId="{8C284D5B-4EE6-4742-A90F-2CAD9E7BE193}" destId="{E347A027-BD9E-417A-BCFA-7BA31D32F99F}" srcOrd="0" destOrd="0" presId="urn:microsoft.com/office/officeart/2005/8/layout/hList1"/>
    <dgm:cxn modelId="{1E489103-DCD8-4444-A214-E76C2650552B}" type="presParOf" srcId="{8C284D5B-4EE6-4742-A90F-2CAD9E7BE193}" destId="{D9453E2C-32B3-47C2-8FEE-31D459BE86DC}" srcOrd="1" destOrd="0" presId="urn:microsoft.com/office/officeart/2005/8/layout/hList1"/>
    <dgm:cxn modelId="{4084306A-5F29-4A53-B7DB-F7DDA9BE65AF}" type="presParOf" srcId="{31B604CB-DA07-47D0-9BF2-A63EFFFE6CDC}" destId="{745471EF-C93B-4665-9992-7CE7B29AB720}" srcOrd="1" destOrd="0" presId="urn:microsoft.com/office/officeart/2005/8/layout/hList1"/>
    <dgm:cxn modelId="{44A4A06E-4C21-4CA4-8A18-03060729DC99}" type="presParOf" srcId="{31B604CB-DA07-47D0-9BF2-A63EFFFE6CDC}" destId="{37E77B9C-E21B-497F-B8FD-49524F400A2E}" srcOrd="2" destOrd="0" presId="urn:microsoft.com/office/officeart/2005/8/layout/hList1"/>
    <dgm:cxn modelId="{96C88DFB-F1D8-44AE-AA50-8078CC7FD571}" type="presParOf" srcId="{37E77B9C-E21B-497F-B8FD-49524F400A2E}" destId="{9FCC834B-8A80-45A4-8342-96F22C84D484}" srcOrd="0" destOrd="0" presId="urn:microsoft.com/office/officeart/2005/8/layout/hList1"/>
    <dgm:cxn modelId="{914807CD-C381-4082-A407-0D8F52367237}" type="presParOf" srcId="{37E77B9C-E21B-497F-B8FD-49524F400A2E}" destId="{C8A344EA-0CBB-427F-8FA2-E76C56108E3A}" srcOrd="1" destOrd="0" presId="urn:microsoft.com/office/officeart/2005/8/layout/hList1"/>
    <dgm:cxn modelId="{9DC18657-EE95-4B4B-BC6A-171AB0A5AFFB}" type="presParOf" srcId="{31B604CB-DA07-47D0-9BF2-A63EFFFE6CDC}" destId="{2CCA5797-1846-4DA5-816E-8765DE114F3A}" srcOrd="3" destOrd="0" presId="urn:microsoft.com/office/officeart/2005/8/layout/hList1"/>
    <dgm:cxn modelId="{2E73FF25-77ED-4560-B550-0D716117AE3F}" type="presParOf" srcId="{31B604CB-DA07-47D0-9BF2-A63EFFFE6CDC}" destId="{6A92A96F-6DDF-4E08-946A-C2B01EB272AD}" srcOrd="4" destOrd="0" presId="urn:microsoft.com/office/officeart/2005/8/layout/hList1"/>
    <dgm:cxn modelId="{B955DAF9-A613-46B0-A7CA-B8C5AB19FE19}" type="presParOf" srcId="{6A92A96F-6DDF-4E08-946A-C2B01EB272AD}" destId="{2DD0A4DA-34F6-4870-9955-E744378978E1}" srcOrd="0" destOrd="0" presId="urn:microsoft.com/office/officeart/2005/8/layout/hList1"/>
    <dgm:cxn modelId="{0348E786-DD6D-47AB-B81E-40CE48F7CAB7}" type="presParOf" srcId="{6A92A96F-6DDF-4E08-946A-C2B01EB272AD}" destId="{8B2E157F-E349-4E22-94CB-A4785584BBF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CF3AD-1751-446E-A095-E91D1029D673}">
      <dsp:nvSpPr>
        <dsp:cNvPr id="0" name=""/>
        <dsp:cNvSpPr/>
      </dsp:nvSpPr>
      <dsp:spPr>
        <a:xfrm>
          <a:off x="0" y="386639"/>
          <a:ext cx="6273098" cy="121680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solidFill>
                <a:schemeClr val="bg1"/>
              </a:solidFill>
            </a:rPr>
            <a:t>Query Performance Insight</a:t>
          </a:r>
        </a:p>
      </dsp:txBody>
      <dsp:txXfrm>
        <a:off x="59399" y="446038"/>
        <a:ext cx="6154300" cy="1098002"/>
      </dsp:txXfrm>
    </dsp:sp>
    <dsp:sp modelId="{58F37BB0-4A03-455D-9540-E03675516ACF}">
      <dsp:nvSpPr>
        <dsp:cNvPr id="0" name=""/>
        <dsp:cNvSpPr/>
      </dsp:nvSpPr>
      <dsp:spPr>
        <a:xfrm>
          <a:off x="0" y="1790640"/>
          <a:ext cx="6273098" cy="121680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Font typeface="Arial" panose="020B0604020202020204" pitchFamily="34" charset="0"/>
            <a:buNone/>
          </a:pPr>
          <a:r>
            <a:rPr lang="en-US" sz="3200" kern="1200">
              <a:solidFill>
                <a:schemeClr val="bg1"/>
              </a:solidFill>
            </a:rPr>
            <a:t>Performance Recommendations</a:t>
          </a:r>
          <a:endParaRPr lang="en-US" sz="3200" kern="1200" dirty="0">
            <a:solidFill>
              <a:schemeClr val="bg1"/>
            </a:solidFill>
          </a:endParaRPr>
        </a:p>
      </dsp:txBody>
      <dsp:txXfrm>
        <a:off x="59399" y="1850039"/>
        <a:ext cx="6154300" cy="1098002"/>
      </dsp:txXfrm>
    </dsp:sp>
    <dsp:sp modelId="{CA65A80A-0432-45C9-AD87-4823DF43F9DD}">
      <dsp:nvSpPr>
        <dsp:cNvPr id="0" name=""/>
        <dsp:cNvSpPr/>
      </dsp:nvSpPr>
      <dsp:spPr>
        <a:xfrm>
          <a:off x="0" y="3194640"/>
          <a:ext cx="6273098" cy="121680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Font typeface="Arial" panose="020B0604020202020204" pitchFamily="34" charset="0"/>
            <a:buNone/>
          </a:pPr>
          <a:r>
            <a:rPr lang="en-US" sz="3200" kern="1200" dirty="0">
              <a:solidFill>
                <a:schemeClr val="bg1"/>
              </a:solidFill>
            </a:rPr>
            <a:t>Automatic Tuning</a:t>
          </a:r>
        </a:p>
      </dsp:txBody>
      <dsp:txXfrm>
        <a:off x="59399" y="3254039"/>
        <a:ext cx="6154300" cy="1098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5F35A-9B31-4B28-8BB2-A1D6C2C25B74}">
      <dsp:nvSpPr>
        <dsp:cNvPr id="0" name=""/>
        <dsp:cNvSpPr/>
      </dsp:nvSpPr>
      <dsp:spPr>
        <a:xfrm>
          <a:off x="0" y="414974"/>
          <a:ext cx="6175159" cy="19246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9261" tIns="541528" rIns="479261"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Size based – Auto cleanup when near max size.</a:t>
          </a:r>
          <a:endParaRPr lang="en-US" sz="1800" kern="1200" dirty="0"/>
        </a:p>
        <a:p>
          <a:pPr marL="171450" lvl="1" indent="-171450" algn="l" defTabSz="800100">
            <a:lnSpc>
              <a:spcPct val="90000"/>
            </a:lnSpc>
            <a:spcBef>
              <a:spcPct val="0"/>
            </a:spcBef>
            <a:spcAft>
              <a:spcPct val="15000"/>
            </a:spcAft>
            <a:buChar char="•"/>
          </a:pPr>
          <a:r>
            <a:rPr lang="en-US" sz="1800" kern="1200" baseline="0" dirty="0"/>
            <a:t>Time based – Default 30 days.</a:t>
          </a:r>
          <a:endParaRPr lang="en-US" sz="1800" kern="1200" dirty="0"/>
        </a:p>
        <a:p>
          <a:pPr marL="171450" lvl="1" indent="-171450" algn="l" defTabSz="800100">
            <a:lnSpc>
              <a:spcPct val="90000"/>
            </a:lnSpc>
            <a:spcBef>
              <a:spcPct val="0"/>
            </a:spcBef>
            <a:spcAft>
              <a:spcPct val="15000"/>
            </a:spcAft>
            <a:buChar char="•"/>
          </a:pPr>
          <a:r>
            <a:rPr lang="en-US" sz="1800" kern="1200" baseline="0" dirty="0"/>
            <a:t>Max Plans Per Query – Default 200.</a:t>
          </a:r>
          <a:endParaRPr lang="en-US" sz="1800" kern="1200" dirty="0"/>
        </a:p>
        <a:p>
          <a:pPr marL="171450" lvl="1" indent="-171450" algn="l" defTabSz="800100">
            <a:lnSpc>
              <a:spcPct val="90000"/>
            </a:lnSpc>
            <a:spcBef>
              <a:spcPct val="0"/>
            </a:spcBef>
            <a:spcAft>
              <a:spcPct val="15000"/>
            </a:spcAft>
            <a:buChar char="•"/>
          </a:pPr>
          <a:r>
            <a:rPr lang="en-US" sz="1800" kern="1200" baseline="0" dirty="0"/>
            <a:t>Wait Statistics Capture Mode – Default On.</a:t>
          </a:r>
          <a:endParaRPr lang="en-US" sz="1800" kern="1200" dirty="0"/>
        </a:p>
      </dsp:txBody>
      <dsp:txXfrm>
        <a:off x="0" y="414974"/>
        <a:ext cx="6175159" cy="1924650"/>
      </dsp:txXfrm>
    </dsp:sp>
    <dsp:sp modelId="{E86E16E5-570D-433C-87BB-CA51932D4F36}">
      <dsp:nvSpPr>
        <dsp:cNvPr id="0" name=""/>
        <dsp:cNvSpPr/>
      </dsp:nvSpPr>
      <dsp:spPr>
        <a:xfrm>
          <a:off x="308757" y="31214"/>
          <a:ext cx="4322611" cy="7675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384" tIns="0" rIns="163384" bIns="0" numCol="1" spcCol="1270" anchor="ctr" anchorCtr="0">
          <a:noAutofit/>
        </a:bodyPr>
        <a:lstStyle/>
        <a:p>
          <a:pPr marL="0" lvl="0" indent="0" algn="l" defTabSz="800100">
            <a:lnSpc>
              <a:spcPct val="90000"/>
            </a:lnSpc>
            <a:spcBef>
              <a:spcPct val="0"/>
            </a:spcBef>
            <a:spcAft>
              <a:spcPct val="35000"/>
            </a:spcAft>
            <a:buNone/>
          </a:pPr>
          <a:r>
            <a:rPr lang="en-US" sz="1800" kern="1200" baseline="0" dirty="0"/>
            <a:t>Retention Policy</a:t>
          </a:r>
          <a:endParaRPr lang="en-US" sz="1800" kern="1200" dirty="0"/>
        </a:p>
      </dsp:txBody>
      <dsp:txXfrm>
        <a:off x="346224" y="68681"/>
        <a:ext cx="4247677" cy="692586"/>
      </dsp:txXfrm>
    </dsp:sp>
    <dsp:sp modelId="{636F49B1-C17D-4243-870F-A8EA509E93B7}">
      <dsp:nvSpPr>
        <dsp:cNvPr id="0" name=""/>
        <dsp:cNvSpPr/>
      </dsp:nvSpPr>
      <dsp:spPr>
        <a:xfrm>
          <a:off x="0" y="2863785"/>
          <a:ext cx="6175159" cy="19246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9261" tIns="541528" rIns="479261"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All – Captures all queries.</a:t>
          </a:r>
          <a:endParaRPr lang="en-US" sz="1800" kern="1200" dirty="0"/>
        </a:p>
        <a:p>
          <a:pPr marL="171450" lvl="1" indent="-171450" algn="l" defTabSz="800100">
            <a:lnSpc>
              <a:spcPct val="90000"/>
            </a:lnSpc>
            <a:spcBef>
              <a:spcPct val="0"/>
            </a:spcBef>
            <a:spcAft>
              <a:spcPct val="15000"/>
            </a:spcAft>
            <a:buChar char="•"/>
          </a:pPr>
          <a:r>
            <a:rPr lang="en-US" sz="1800" kern="1200" baseline="0" dirty="0"/>
            <a:t>Auto – Infrequent queries are ignored.</a:t>
          </a:r>
          <a:endParaRPr lang="en-US" sz="1800" kern="1200" dirty="0"/>
        </a:p>
        <a:p>
          <a:pPr marL="171450" lvl="1" indent="-171450" algn="l" defTabSz="800100">
            <a:lnSpc>
              <a:spcPct val="90000"/>
            </a:lnSpc>
            <a:spcBef>
              <a:spcPct val="0"/>
            </a:spcBef>
            <a:spcAft>
              <a:spcPct val="15000"/>
            </a:spcAft>
            <a:buChar char="•"/>
          </a:pPr>
          <a:r>
            <a:rPr lang="en-US" sz="1800" kern="1200" baseline="0" dirty="0"/>
            <a:t>None – No queries are captured.</a:t>
          </a:r>
          <a:endParaRPr lang="en-US" sz="1800" kern="1200" dirty="0"/>
        </a:p>
        <a:p>
          <a:pPr marL="171450" lvl="1" indent="-171450" algn="l" defTabSz="800100">
            <a:lnSpc>
              <a:spcPct val="90000"/>
            </a:lnSpc>
            <a:spcBef>
              <a:spcPct val="0"/>
            </a:spcBef>
            <a:spcAft>
              <a:spcPct val="15000"/>
            </a:spcAft>
            <a:buChar char="•"/>
          </a:pPr>
          <a:r>
            <a:rPr lang="en-US" sz="1800" kern="1200" baseline="0" dirty="0"/>
            <a:t>Custom – Advanced Options</a:t>
          </a:r>
          <a:endParaRPr lang="en-US" sz="1800" kern="1200" dirty="0"/>
        </a:p>
      </dsp:txBody>
      <dsp:txXfrm>
        <a:off x="0" y="2863785"/>
        <a:ext cx="6175159" cy="1924650"/>
      </dsp:txXfrm>
    </dsp:sp>
    <dsp:sp modelId="{1708D1DF-206F-47BD-91F2-9E1973FCF89B}">
      <dsp:nvSpPr>
        <dsp:cNvPr id="0" name=""/>
        <dsp:cNvSpPr/>
      </dsp:nvSpPr>
      <dsp:spPr>
        <a:xfrm>
          <a:off x="308757" y="2480025"/>
          <a:ext cx="4322611" cy="7675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384" tIns="0" rIns="163384" bIns="0" numCol="1" spcCol="1270" anchor="ctr" anchorCtr="0">
          <a:noAutofit/>
        </a:bodyPr>
        <a:lstStyle/>
        <a:p>
          <a:pPr marL="0" lvl="0" indent="0" algn="l" defTabSz="800100">
            <a:lnSpc>
              <a:spcPct val="90000"/>
            </a:lnSpc>
            <a:spcBef>
              <a:spcPct val="0"/>
            </a:spcBef>
            <a:spcAft>
              <a:spcPct val="35000"/>
            </a:spcAft>
            <a:buNone/>
          </a:pPr>
          <a:r>
            <a:rPr lang="en-US" sz="1800" kern="1200" baseline="0"/>
            <a:t>Capture Policy</a:t>
          </a:r>
          <a:endParaRPr lang="en-US" sz="1800" kern="1200"/>
        </a:p>
      </dsp:txBody>
      <dsp:txXfrm>
        <a:off x="346224" y="2517492"/>
        <a:ext cx="4247677"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BE53F4-54C1-4E97-B579-416649A0A20D}">
      <dsp:nvSpPr>
        <dsp:cNvPr id="0" name=""/>
        <dsp:cNvSpPr/>
      </dsp:nvSpPr>
      <dsp:spPr>
        <a:xfrm>
          <a:off x="0" y="249"/>
          <a:ext cx="2875668" cy="720000"/>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1" kern="1200" dirty="0"/>
            <a:t>Query Performance Insight</a:t>
          </a:r>
          <a:endParaRPr lang="en-US" sz="1800" kern="1200" dirty="0"/>
        </a:p>
      </dsp:txBody>
      <dsp:txXfrm>
        <a:off x="0" y="249"/>
        <a:ext cx="2875668" cy="720000"/>
      </dsp:txXfrm>
    </dsp:sp>
    <dsp:sp modelId="{929C0300-0DF1-4CD4-BD65-1F330D9201BB}">
      <dsp:nvSpPr>
        <dsp:cNvPr id="0" name=""/>
        <dsp:cNvSpPr/>
      </dsp:nvSpPr>
      <dsp:spPr>
        <a:xfrm>
          <a:off x="0" y="720249"/>
          <a:ext cx="2875668" cy="2161687"/>
        </a:xfrm>
        <a:prstGeom prst="rect">
          <a:avLst/>
        </a:prstGeom>
        <a:solidFill>
          <a:schemeClr val="accent5">
            <a:alpha val="90000"/>
            <a:tint val="40000"/>
            <a:hueOff val="0"/>
            <a:satOff val="0"/>
            <a:lumOff val="0"/>
            <a:alphaOff val="0"/>
          </a:schemeClr>
        </a:solidFill>
        <a:ln w="9525" cap="flat" cmpd="sng" algn="ctr">
          <a:solidFill>
            <a:schemeClr val="accent5">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dirty="0"/>
            <a:t>Shows top performance degrading queries by showing most resource consuming queries, long running queries and custom configuration.</a:t>
          </a:r>
          <a:endParaRPr lang="en-US" sz="1400" kern="1200" dirty="0"/>
        </a:p>
        <a:p>
          <a:pPr marL="114300" lvl="1" indent="-114300" algn="l" defTabSz="622300">
            <a:lnSpc>
              <a:spcPct val="90000"/>
            </a:lnSpc>
            <a:spcBef>
              <a:spcPct val="0"/>
            </a:spcBef>
            <a:spcAft>
              <a:spcPct val="15000"/>
            </a:spcAft>
            <a:buChar char="•"/>
          </a:pPr>
          <a:r>
            <a:rPr lang="en-GB" sz="1400" kern="1200" dirty="0"/>
            <a:t>Can drill through the queries to see Query text, CPU, data IO and Log IO utilization %, Duration and Execution count.</a:t>
          </a:r>
          <a:endParaRPr lang="en-US" sz="1400" kern="1200" dirty="0"/>
        </a:p>
      </dsp:txBody>
      <dsp:txXfrm>
        <a:off x="0" y="720249"/>
        <a:ext cx="2875668" cy="21616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44588E-C450-4775-85F9-84BA87F9DD90}">
      <dsp:nvSpPr>
        <dsp:cNvPr id="0" name=""/>
        <dsp:cNvSpPr/>
      </dsp:nvSpPr>
      <dsp:spPr>
        <a:xfrm>
          <a:off x="0" y="23505"/>
          <a:ext cx="3537527" cy="9734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Duration is one of the metrics showing potential bottleneck</a:t>
          </a:r>
          <a:endParaRPr lang="en-US" sz="1800" kern="1200" dirty="0"/>
        </a:p>
      </dsp:txBody>
      <dsp:txXfrm>
        <a:off x="47519" y="71024"/>
        <a:ext cx="3442489" cy="878402"/>
      </dsp:txXfrm>
    </dsp:sp>
    <dsp:sp modelId="{42FC2833-AE7B-45FB-AA30-62803F642B80}">
      <dsp:nvSpPr>
        <dsp:cNvPr id="0" name=""/>
        <dsp:cNvSpPr/>
      </dsp:nvSpPr>
      <dsp:spPr>
        <a:xfrm>
          <a:off x="0" y="1146705"/>
          <a:ext cx="3537527" cy="9734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Long-running queries has potential for:</a:t>
          </a:r>
          <a:endParaRPr lang="en-US" sz="1800" kern="1200"/>
        </a:p>
      </dsp:txBody>
      <dsp:txXfrm>
        <a:off x="47519" y="1194224"/>
        <a:ext cx="3442489" cy="878402"/>
      </dsp:txXfrm>
    </dsp:sp>
    <dsp:sp modelId="{8560D59D-0AC2-49C1-8F71-045A51D516B5}">
      <dsp:nvSpPr>
        <dsp:cNvPr id="0" name=""/>
        <dsp:cNvSpPr/>
      </dsp:nvSpPr>
      <dsp:spPr>
        <a:xfrm>
          <a:off x="0" y="2120145"/>
          <a:ext cx="3537527" cy="9956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2316"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Longer locks</a:t>
          </a:r>
          <a:endParaRPr lang="en-US" sz="1800" kern="1200" dirty="0"/>
        </a:p>
        <a:p>
          <a:pPr marL="171450" lvl="1" indent="-171450" algn="l" defTabSz="800100">
            <a:lnSpc>
              <a:spcPct val="90000"/>
            </a:lnSpc>
            <a:spcBef>
              <a:spcPct val="0"/>
            </a:spcBef>
            <a:spcAft>
              <a:spcPct val="20000"/>
            </a:spcAft>
            <a:buChar char="•"/>
          </a:pPr>
          <a:r>
            <a:rPr lang="en-US" sz="1800" kern="1200" baseline="0" dirty="0"/>
            <a:t>Blocking other users</a:t>
          </a:r>
          <a:endParaRPr lang="en-US" sz="1800" kern="1200" dirty="0"/>
        </a:p>
        <a:p>
          <a:pPr marL="171450" lvl="1" indent="-171450" algn="l" defTabSz="800100">
            <a:lnSpc>
              <a:spcPct val="90000"/>
            </a:lnSpc>
            <a:spcBef>
              <a:spcPct val="0"/>
            </a:spcBef>
            <a:spcAft>
              <a:spcPct val="20000"/>
            </a:spcAft>
            <a:buChar char="•"/>
          </a:pPr>
          <a:r>
            <a:rPr lang="en-US" sz="1800" kern="1200" baseline="0" dirty="0"/>
            <a:t>Limiting scalability</a:t>
          </a:r>
          <a:endParaRPr lang="en-US" sz="1800" kern="1200" dirty="0"/>
        </a:p>
      </dsp:txBody>
      <dsp:txXfrm>
        <a:off x="0" y="2120145"/>
        <a:ext cx="3537527" cy="99567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0271C5-8214-4C13-9E53-FF8BDD177DBA}">
      <dsp:nvSpPr>
        <dsp:cNvPr id="0" name=""/>
        <dsp:cNvSpPr/>
      </dsp:nvSpPr>
      <dsp:spPr>
        <a:xfrm>
          <a:off x="0" y="96041"/>
          <a:ext cx="3257222" cy="12168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1" kern="1200" dirty="0"/>
            <a:t>Custom options: </a:t>
          </a:r>
          <a:endParaRPr lang="en-US" sz="2400" kern="1200" dirty="0"/>
        </a:p>
      </dsp:txBody>
      <dsp:txXfrm>
        <a:off x="59399" y="155440"/>
        <a:ext cx="3138424" cy="1098002"/>
      </dsp:txXfrm>
    </dsp:sp>
    <dsp:sp modelId="{74E709F4-10FE-456F-ABDF-13BB3F47D687}">
      <dsp:nvSpPr>
        <dsp:cNvPr id="0" name=""/>
        <dsp:cNvSpPr/>
      </dsp:nvSpPr>
      <dsp:spPr>
        <a:xfrm>
          <a:off x="0" y="1312841"/>
          <a:ext cx="3257222" cy="3027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417"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GB" sz="1800" b="1" kern="1200" dirty="0"/>
            <a:t>Metric Type</a:t>
          </a:r>
          <a:r>
            <a:rPr lang="en-GB" sz="1800" kern="1200" dirty="0"/>
            <a:t> – CPU , Data IO, Log IO, Duration and Execution Count.</a:t>
          </a:r>
          <a:endParaRPr lang="en-US" sz="1800" kern="1200" dirty="0"/>
        </a:p>
        <a:p>
          <a:pPr marL="171450" lvl="1" indent="-171450" algn="l" defTabSz="800100">
            <a:lnSpc>
              <a:spcPct val="90000"/>
            </a:lnSpc>
            <a:spcBef>
              <a:spcPct val="0"/>
            </a:spcBef>
            <a:spcAft>
              <a:spcPct val="20000"/>
            </a:spcAft>
            <a:buChar char="•"/>
          </a:pPr>
          <a:r>
            <a:rPr lang="en-GB" sz="1800" b="1" kern="1200" dirty="0"/>
            <a:t>Time Period</a:t>
          </a:r>
          <a:r>
            <a:rPr lang="en-GB" sz="1800" kern="1200" dirty="0"/>
            <a:t> – Last 6 hrs, Last 24 hrs, Past Week, Past Month and Custom.</a:t>
          </a:r>
          <a:endParaRPr lang="en-US" sz="1800" kern="1200" dirty="0"/>
        </a:p>
        <a:p>
          <a:pPr marL="171450" lvl="1" indent="-171450" algn="l" defTabSz="800100">
            <a:lnSpc>
              <a:spcPct val="90000"/>
            </a:lnSpc>
            <a:spcBef>
              <a:spcPct val="0"/>
            </a:spcBef>
            <a:spcAft>
              <a:spcPct val="20000"/>
            </a:spcAft>
            <a:buChar char="•"/>
          </a:pPr>
          <a:r>
            <a:rPr lang="en-GB" sz="1800" b="1" kern="1200" dirty="0"/>
            <a:t>Number of Queries</a:t>
          </a:r>
          <a:r>
            <a:rPr lang="en-GB" sz="1800" kern="1200" dirty="0"/>
            <a:t> – 5, 10, 20.</a:t>
          </a:r>
          <a:endParaRPr lang="en-US" sz="1800" kern="1200" dirty="0"/>
        </a:p>
        <a:p>
          <a:pPr marL="171450" lvl="1" indent="-171450" algn="l" defTabSz="800100">
            <a:lnSpc>
              <a:spcPct val="90000"/>
            </a:lnSpc>
            <a:spcBef>
              <a:spcPct val="0"/>
            </a:spcBef>
            <a:spcAft>
              <a:spcPct val="20000"/>
            </a:spcAft>
            <a:buChar char="•"/>
          </a:pPr>
          <a:r>
            <a:rPr lang="en-GB" sz="1800" b="1" kern="1200" dirty="0"/>
            <a:t>Aggregation type</a:t>
          </a:r>
          <a:r>
            <a:rPr lang="en-GB" sz="1800" kern="1200" dirty="0"/>
            <a:t> – sum, max and avg.</a:t>
          </a:r>
          <a:endParaRPr lang="en-US" sz="1800" kern="1200" dirty="0"/>
        </a:p>
      </dsp:txBody>
      <dsp:txXfrm>
        <a:off x="0" y="1312841"/>
        <a:ext cx="3257222" cy="302737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B47A68-A29D-405C-AB93-9DEB4EF7D1F2}">
      <dsp:nvSpPr>
        <dsp:cNvPr id="0" name=""/>
        <dsp:cNvSpPr/>
      </dsp:nvSpPr>
      <dsp:spPr>
        <a:xfrm>
          <a:off x="0" y="31585"/>
          <a:ext cx="4692581" cy="6926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High Impact </a:t>
          </a:r>
        </a:p>
      </dsp:txBody>
      <dsp:txXfrm>
        <a:off x="33812" y="65397"/>
        <a:ext cx="4624957" cy="625016"/>
      </dsp:txXfrm>
    </dsp:sp>
    <dsp:sp modelId="{658B6BB0-E8EA-4408-AC9E-3325D0575900}">
      <dsp:nvSpPr>
        <dsp:cNvPr id="0" name=""/>
        <dsp:cNvSpPr/>
      </dsp:nvSpPr>
      <dsp:spPr>
        <a:xfrm>
          <a:off x="0" y="724225"/>
          <a:ext cx="4692581"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98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commendations should provide the most significant performance impact.</a:t>
          </a:r>
        </a:p>
      </dsp:txBody>
      <dsp:txXfrm>
        <a:off x="0" y="724225"/>
        <a:ext cx="4692581" cy="612720"/>
      </dsp:txXfrm>
    </dsp:sp>
    <dsp:sp modelId="{AE9313D6-FA63-4FE1-997B-4E514A784D96}">
      <dsp:nvSpPr>
        <dsp:cNvPr id="0" name=""/>
        <dsp:cNvSpPr/>
      </dsp:nvSpPr>
      <dsp:spPr>
        <a:xfrm>
          <a:off x="0" y="1336945"/>
          <a:ext cx="4692581" cy="6926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Medium Impact</a:t>
          </a:r>
        </a:p>
      </dsp:txBody>
      <dsp:txXfrm>
        <a:off x="33812" y="1370757"/>
        <a:ext cx="4624957" cy="625016"/>
      </dsp:txXfrm>
    </dsp:sp>
    <dsp:sp modelId="{E96C37B6-86C2-45EC-8FF4-EB691C894A8E}">
      <dsp:nvSpPr>
        <dsp:cNvPr id="0" name=""/>
        <dsp:cNvSpPr/>
      </dsp:nvSpPr>
      <dsp:spPr>
        <a:xfrm>
          <a:off x="0" y="2029586"/>
          <a:ext cx="4692581"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98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commendations should improve performance, but not substantially.</a:t>
          </a:r>
        </a:p>
      </dsp:txBody>
      <dsp:txXfrm>
        <a:off x="0" y="2029586"/>
        <a:ext cx="4692581" cy="612720"/>
      </dsp:txXfrm>
    </dsp:sp>
    <dsp:sp modelId="{D9CC3DE3-71BD-48B4-B213-6A8050FFECF1}">
      <dsp:nvSpPr>
        <dsp:cNvPr id="0" name=""/>
        <dsp:cNvSpPr/>
      </dsp:nvSpPr>
      <dsp:spPr>
        <a:xfrm>
          <a:off x="0" y="2642305"/>
          <a:ext cx="4692581" cy="69264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Low Impact</a:t>
          </a:r>
        </a:p>
      </dsp:txBody>
      <dsp:txXfrm>
        <a:off x="33812" y="2676117"/>
        <a:ext cx="4624957" cy="625016"/>
      </dsp:txXfrm>
    </dsp:sp>
    <dsp:sp modelId="{8C0A339F-E849-4301-8049-EE398B667304}">
      <dsp:nvSpPr>
        <dsp:cNvPr id="0" name=""/>
        <dsp:cNvSpPr/>
      </dsp:nvSpPr>
      <dsp:spPr>
        <a:xfrm>
          <a:off x="0" y="3334946"/>
          <a:ext cx="4692581" cy="880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98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Recommendations should provide better performance than without, but improvements might not be significant.</a:t>
          </a:r>
        </a:p>
      </dsp:txBody>
      <dsp:txXfrm>
        <a:off x="0" y="3334946"/>
        <a:ext cx="4692581" cy="88078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9C5CDD-13D0-4971-9C2E-035E71F9BA49}">
      <dsp:nvSpPr>
        <dsp:cNvPr id="0" name=""/>
        <dsp:cNvSpPr/>
      </dsp:nvSpPr>
      <dsp:spPr>
        <a:xfrm>
          <a:off x="0" y="63225"/>
          <a:ext cx="3867960" cy="4375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GB" sz="1700" b="1" kern="1200" dirty="0"/>
            <a:t>Force Last Good Plan:</a:t>
          </a:r>
          <a:r>
            <a:rPr lang="en-GB" sz="1700" kern="1200" dirty="0"/>
            <a:t> </a:t>
          </a:r>
          <a:endParaRPr lang="en-US" sz="1700" kern="1200" dirty="0"/>
        </a:p>
      </dsp:txBody>
      <dsp:txXfrm>
        <a:off x="21361" y="84586"/>
        <a:ext cx="3825238" cy="394858"/>
      </dsp:txXfrm>
    </dsp:sp>
    <dsp:sp modelId="{3332498D-B1B4-4BEE-8E10-B14EBD545110}">
      <dsp:nvSpPr>
        <dsp:cNvPr id="0" name=""/>
        <dsp:cNvSpPr/>
      </dsp:nvSpPr>
      <dsp:spPr>
        <a:xfrm>
          <a:off x="0" y="500805"/>
          <a:ext cx="3867960" cy="1038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GB" sz="1300" kern="1200" dirty="0"/>
            <a:t>Identifies regressed queries due to bad plan and replaces the bad plan with last Good Plan, validates performance improvements and reverts the change if performance does not improve.</a:t>
          </a:r>
          <a:endParaRPr lang="en-US" sz="1300" kern="1200" dirty="0"/>
        </a:p>
      </dsp:txBody>
      <dsp:txXfrm>
        <a:off x="0" y="500805"/>
        <a:ext cx="3867960" cy="1038105"/>
      </dsp:txXfrm>
    </dsp:sp>
    <dsp:sp modelId="{24F84A27-EB51-4E4A-967C-A571E610E2AB}">
      <dsp:nvSpPr>
        <dsp:cNvPr id="0" name=""/>
        <dsp:cNvSpPr/>
      </dsp:nvSpPr>
      <dsp:spPr>
        <a:xfrm>
          <a:off x="0" y="1538911"/>
          <a:ext cx="3867960" cy="4375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GB" sz="1700" b="1" kern="1200"/>
            <a:t>Create Index:</a:t>
          </a:r>
          <a:r>
            <a:rPr lang="en-GB" sz="1700" kern="1200"/>
            <a:t> </a:t>
          </a:r>
          <a:endParaRPr lang="en-US" sz="1700" kern="1200" dirty="0"/>
        </a:p>
      </dsp:txBody>
      <dsp:txXfrm>
        <a:off x="21361" y="1560272"/>
        <a:ext cx="3825238" cy="394858"/>
      </dsp:txXfrm>
    </dsp:sp>
    <dsp:sp modelId="{70F6EA63-FFDB-4F82-8FF1-8F4E36165235}">
      <dsp:nvSpPr>
        <dsp:cNvPr id="0" name=""/>
        <dsp:cNvSpPr/>
      </dsp:nvSpPr>
      <dsp:spPr>
        <a:xfrm>
          <a:off x="0" y="1976491"/>
          <a:ext cx="3867960" cy="651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GB" sz="1300" kern="1200" dirty="0"/>
            <a:t>Identifies and creates Indexes, validates performance improvements and reverts the change if performance degrades.</a:t>
          </a:r>
          <a:endParaRPr lang="en-US" sz="1300" kern="1200" dirty="0"/>
        </a:p>
      </dsp:txBody>
      <dsp:txXfrm>
        <a:off x="0" y="1976491"/>
        <a:ext cx="3867960" cy="651014"/>
      </dsp:txXfrm>
    </dsp:sp>
    <dsp:sp modelId="{C4AB264D-B8D8-44DC-B1B4-A90DCA65B562}">
      <dsp:nvSpPr>
        <dsp:cNvPr id="0" name=""/>
        <dsp:cNvSpPr/>
      </dsp:nvSpPr>
      <dsp:spPr>
        <a:xfrm>
          <a:off x="0" y="2627505"/>
          <a:ext cx="3867960" cy="4375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GB" sz="1700" b="1" kern="1200" dirty="0"/>
            <a:t>Drop Index:</a:t>
          </a:r>
          <a:endParaRPr lang="en-US" sz="1700" kern="1200" dirty="0"/>
        </a:p>
      </dsp:txBody>
      <dsp:txXfrm>
        <a:off x="21361" y="2648866"/>
        <a:ext cx="3825238" cy="394858"/>
      </dsp:txXfrm>
    </dsp:sp>
    <dsp:sp modelId="{1F25FBA9-B4C3-49F7-A227-0A2C7D63ADB3}">
      <dsp:nvSpPr>
        <dsp:cNvPr id="0" name=""/>
        <dsp:cNvSpPr/>
      </dsp:nvSpPr>
      <dsp:spPr>
        <a:xfrm>
          <a:off x="0" y="3065086"/>
          <a:ext cx="3867960" cy="651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GB" sz="1300" kern="1200" dirty="0"/>
            <a:t>Identifies and drops unused Indexes, validates performance improvements and reverts the change if performance degrades.</a:t>
          </a:r>
          <a:endParaRPr lang="en-US" sz="1300" kern="1200" dirty="0"/>
        </a:p>
      </dsp:txBody>
      <dsp:txXfrm>
        <a:off x="0" y="3065086"/>
        <a:ext cx="3867960" cy="651014"/>
      </dsp:txXfrm>
    </dsp:sp>
    <dsp:sp modelId="{C45F7A2E-29B1-4862-A1D5-D6DCABFC93BB}">
      <dsp:nvSpPr>
        <dsp:cNvPr id="0" name=""/>
        <dsp:cNvSpPr/>
      </dsp:nvSpPr>
      <dsp:spPr>
        <a:xfrm>
          <a:off x="0" y="3716101"/>
          <a:ext cx="3867960" cy="4375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dirty="0">
              <a:effectLst/>
              <a:latin typeface="+mn-lt"/>
            </a:rPr>
            <a:t>Azure defaults for automatic tuning:</a:t>
          </a:r>
          <a:endParaRPr lang="en-US" sz="1700" kern="1200" dirty="0">
            <a:latin typeface="+mn-lt"/>
          </a:endParaRPr>
        </a:p>
      </dsp:txBody>
      <dsp:txXfrm>
        <a:off x="21361" y="3737462"/>
        <a:ext cx="3825238" cy="394858"/>
      </dsp:txXfrm>
    </dsp:sp>
    <dsp:sp modelId="{286395CE-BBC9-4E7A-B17C-D129F907F13D}">
      <dsp:nvSpPr>
        <dsp:cNvPr id="0" name=""/>
        <dsp:cNvSpPr/>
      </dsp:nvSpPr>
      <dsp:spPr>
        <a:xfrm>
          <a:off x="0" y="4153681"/>
          <a:ext cx="3867960" cy="6510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US" sz="1300" b="0" i="0" kern="1200" dirty="0">
              <a:effectLst/>
              <a:latin typeface="Segoe UI" panose="020B0502040204020203" pitchFamily="34" charset="0"/>
            </a:rPr>
            <a:t>FORCE_LAST_GOOD_PLAN = enabled, CREATE_INDEX = disabled, and DROP_INDEX = disabled.</a:t>
          </a:r>
        </a:p>
      </dsp:txBody>
      <dsp:txXfrm>
        <a:off x="0" y="4153681"/>
        <a:ext cx="3867960" cy="65101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47A027-BD9E-417A-BCFA-7BA31D32F99F}">
      <dsp:nvSpPr>
        <dsp:cNvPr id="0" name=""/>
        <dsp:cNvSpPr/>
      </dsp:nvSpPr>
      <dsp:spPr>
        <a:xfrm>
          <a:off x="3478" y="264270"/>
          <a:ext cx="3391240" cy="1088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baseline="0" dirty="0"/>
            <a:t>Metric values alerts</a:t>
          </a:r>
          <a:endParaRPr lang="en-US" sz="2000" kern="1200" dirty="0"/>
        </a:p>
      </dsp:txBody>
      <dsp:txXfrm>
        <a:off x="3478" y="264270"/>
        <a:ext cx="3391240" cy="1088200"/>
      </dsp:txXfrm>
    </dsp:sp>
    <dsp:sp modelId="{D9453E2C-32B3-47C2-8FEE-31D459BE86DC}">
      <dsp:nvSpPr>
        <dsp:cNvPr id="0" name=""/>
        <dsp:cNvSpPr/>
      </dsp:nvSpPr>
      <dsp:spPr>
        <a:xfrm>
          <a:off x="3478" y="1352470"/>
          <a:ext cx="3391240" cy="301950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The alert triggers when the value of a specified metric crosses a threshold you assigned in either direction. It triggers when the condition is first met and then when that condition is no longer being met.	</a:t>
          </a:r>
          <a:endParaRPr lang="en-US" sz="2000" kern="1200" dirty="0"/>
        </a:p>
      </dsp:txBody>
      <dsp:txXfrm>
        <a:off x="3478" y="1352470"/>
        <a:ext cx="3391240" cy="3019500"/>
      </dsp:txXfrm>
    </dsp:sp>
    <dsp:sp modelId="{9FCC834B-8A80-45A4-8342-96F22C84D484}">
      <dsp:nvSpPr>
        <dsp:cNvPr id="0" name=""/>
        <dsp:cNvSpPr/>
      </dsp:nvSpPr>
      <dsp:spPr>
        <a:xfrm>
          <a:off x="3869491" y="264270"/>
          <a:ext cx="3391240" cy="1088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baseline="0" dirty="0"/>
            <a:t>Activity log events </a:t>
          </a:r>
          <a:endParaRPr lang="en-US" sz="2000" kern="1200" dirty="0"/>
        </a:p>
      </dsp:txBody>
      <dsp:txXfrm>
        <a:off x="3869491" y="264270"/>
        <a:ext cx="3391240" cy="1088200"/>
      </dsp:txXfrm>
    </dsp:sp>
    <dsp:sp modelId="{C8A344EA-0CBB-427F-8FA2-E76C56108E3A}">
      <dsp:nvSpPr>
        <dsp:cNvPr id="0" name=""/>
        <dsp:cNvSpPr/>
      </dsp:nvSpPr>
      <dsp:spPr>
        <a:xfrm>
          <a:off x="3869491" y="1352470"/>
          <a:ext cx="3391240" cy="301950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An alert can trigger on every event, or, only when a certain number of events occur.</a:t>
          </a:r>
          <a:endParaRPr lang="en-US" sz="2000" kern="1200" dirty="0"/>
        </a:p>
      </dsp:txBody>
      <dsp:txXfrm>
        <a:off x="3869491" y="1352470"/>
        <a:ext cx="3391240" cy="3019500"/>
      </dsp:txXfrm>
    </dsp:sp>
    <dsp:sp modelId="{2DD0A4DA-34F6-4870-9955-E744378978E1}">
      <dsp:nvSpPr>
        <dsp:cNvPr id="0" name=""/>
        <dsp:cNvSpPr/>
      </dsp:nvSpPr>
      <dsp:spPr>
        <a:xfrm>
          <a:off x="7735505" y="264270"/>
          <a:ext cx="3391240" cy="1088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t>You can configure an alert to do the following when it triggers:</a:t>
          </a:r>
        </a:p>
      </dsp:txBody>
      <dsp:txXfrm>
        <a:off x="7735505" y="264270"/>
        <a:ext cx="3391240" cy="1088200"/>
      </dsp:txXfrm>
    </dsp:sp>
    <dsp:sp modelId="{8B2E157F-E349-4E22-94CB-A4785584BBFB}">
      <dsp:nvSpPr>
        <dsp:cNvPr id="0" name=""/>
        <dsp:cNvSpPr/>
      </dsp:nvSpPr>
      <dsp:spPr>
        <a:xfrm>
          <a:off x="7735505" y="1352470"/>
          <a:ext cx="3391240" cy="301950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Send email notifications to the service administrator and co-administrators.</a:t>
          </a:r>
        </a:p>
        <a:p>
          <a:pPr marL="228600" lvl="1" indent="-228600" algn="l" defTabSz="889000">
            <a:lnSpc>
              <a:spcPct val="90000"/>
            </a:lnSpc>
            <a:spcBef>
              <a:spcPct val="0"/>
            </a:spcBef>
            <a:spcAft>
              <a:spcPct val="15000"/>
            </a:spcAft>
            <a:buChar char="•"/>
          </a:pPr>
          <a:r>
            <a:rPr lang="en-US" sz="2000" kern="1200" dirty="0"/>
            <a:t>Send email to additional emails that you specify.</a:t>
          </a:r>
        </a:p>
        <a:p>
          <a:pPr marL="228600" lvl="1" indent="-228600" algn="l" defTabSz="889000">
            <a:lnSpc>
              <a:spcPct val="90000"/>
            </a:lnSpc>
            <a:spcBef>
              <a:spcPct val="0"/>
            </a:spcBef>
            <a:spcAft>
              <a:spcPct val="15000"/>
            </a:spcAft>
            <a:buChar char="•"/>
          </a:pPr>
          <a:r>
            <a:rPr lang="en-US" sz="2000" kern="1200" dirty="0"/>
            <a:t>Call a webhook</a:t>
          </a:r>
        </a:p>
      </dsp:txBody>
      <dsp:txXfrm>
        <a:off x="7735505" y="1352470"/>
        <a:ext cx="3391240" cy="30195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9/2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azure/azure-sql/database/query-performance-insight-use"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docs.microsoft.com/en-us/learn/modules/azure-sql-performance/"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azure-sql/database/query-performance-insight-use"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docs.microsoft.com/en-us/learn/modules/azure-sql-performance/"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azure/azure-sql/database/query-performance-insight-use"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github.com/microsoft/sqlworkshops-azuresqlworkshop" TargetMode="External"/><Relationship Id="rId4" Type="http://schemas.openxmlformats.org/officeDocument/2006/relationships/hyperlink" Target="https://docs.microsoft.com/en-us/learn/modules/azure-sql-performance/"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Please consider editing or deleting “</a:t>
            </a:r>
            <a:r>
              <a:rPr lang="en-US" sz="1400" dirty="0"/>
              <a:t>Give me the top queries that have changed in performance compared to the number of executions. “</a:t>
            </a:r>
          </a:p>
        </p:txBody>
      </p:sp>
    </p:spTree>
    <p:extLst>
      <p:ext uri="{BB962C8B-B14F-4D97-AF65-F5344CB8AC3E}">
        <p14:creationId xmlns:p14="http://schemas.microsoft.com/office/powerpoint/2010/main" val="3926414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emo </a:t>
            </a:r>
            <a:r>
              <a:rPr lang="en-US" b="1" dirty="0"/>
              <a:t>setup instructions</a:t>
            </a:r>
          </a:p>
          <a:p>
            <a:pPr marL="171450" indent="-171450">
              <a:buFont typeface="Arial" panose="020B0604020202020204" pitchFamily="34" charset="0"/>
              <a:buChar char="•"/>
            </a:pPr>
            <a:r>
              <a:rPr lang="en-US" dirty="0"/>
              <a:t>The latest version of the SQL Server Management Studio</a:t>
            </a:r>
          </a:p>
          <a:p>
            <a:pPr marL="0" indent="0">
              <a:buFont typeface="Arial" panose="020B0604020202020204" pitchFamily="34" charset="0"/>
              <a:buNone/>
            </a:pPr>
            <a:r>
              <a:rPr lang="en-US" b="1" dirty="0"/>
              <a:t>Steps</a:t>
            </a:r>
          </a:p>
          <a:p>
            <a:pPr marL="228600" indent="-228600">
              <a:buFont typeface="Arial" panose="020B0604020202020204" pitchFamily="34" charset="0"/>
              <a:buAutoNum type="arabicPeriod"/>
            </a:pPr>
            <a:r>
              <a:rPr lang="en-US" b="1" dirty="0"/>
              <a:t>Connect to the Azure Portal, click on “Create a resource” and search for SQL Server (logical server)</a:t>
            </a:r>
          </a:p>
          <a:p>
            <a:pPr marL="228600" indent="-228600">
              <a:buFont typeface="Arial" panose="020B0604020202020204" pitchFamily="34" charset="0"/>
              <a:buAutoNum type="arabicPeriod"/>
            </a:pPr>
            <a:r>
              <a:rPr lang="en-US" b="1" dirty="0"/>
              <a:t>Create a logical server</a:t>
            </a: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rver Name	</a:t>
            </a:r>
            <a:r>
              <a:rPr lang="en-US" sz="900" dirty="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myazuresrv</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if the name is already in use, try another name until you notice that it’s not yet in use)</a:t>
            </a:r>
            <a:endParaRPr lang="nl-BE"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rver Admin Login	</a:t>
            </a:r>
            <a:r>
              <a:rPr lang="en-US" sz="900" dirty="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AzureAdmin</a:t>
            </a:r>
            <a:endParaRPr lang="nl-BE"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ord		</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0rd1</a:t>
            </a:r>
            <a:endParaRPr lang="nl-BE"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Confirm password	</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Passw0rd1</a:t>
            </a: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ubscription	</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lect your subscription</a:t>
            </a:r>
            <a:endParaRPr lang="nl-BE"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Resource Group	</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Create New and specify the name </a:t>
            </a:r>
            <a:r>
              <a:rPr lang="en-US" sz="900" dirty="0" err="1">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AzureDB</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RG</a:t>
            </a:r>
            <a:endParaRPr lang="nl-BE"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217262" lvl="1" indent="0">
              <a:buFont typeface="Arial" panose="020B0604020202020204" pitchFamily="34" charset="0"/>
              <a:buNone/>
            </a:pPr>
            <a:r>
              <a:rPr lang="en-US" sz="900" b="1"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Location		</a:t>
            </a:r>
            <a:r>
              <a:rPr lang="en-US"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Select the location that is the closest to your location</a:t>
            </a:r>
            <a:endParaRPr lang="nl-BE" sz="90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3. Examine the different server options (Failover Groups, Manage backups, AD Admin, Security, Automatic Tuning…) Give a short overview, not in detail because this will be discussed later in the Workshop.</a:t>
            </a:r>
          </a:p>
          <a:p>
            <a:pPr marL="0" indent="0">
              <a:buFont typeface="Arial" panose="020B0604020202020204" pitchFamily="34" charset="0"/>
              <a:buNone/>
            </a:pPr>
            <a:endParaRPr lang="en-US" b="1" dirty="0"/>
          </a:p>
          <a:p>
            <a:pPr marL="0" indent="0">
              <a:buFont typeface="+mj-lt"/>
              <a:buNone/>
            </a:pPr>
            <a:r>
              <a:rPr lang="en-US" sz="900" b="1" kern="1200" dirty="0">
                <a:solidFill>
                  <a:schemeClr val="tx1"/>
                </a:solidFill>
                <a:effectLst/>
                <a:latin typeface="Segoe UI Light" pitchFamily="34" charset="0"/>
                <a:ea typeface="+mn-ea"/>
                <a:cs typeface="+mn-cs"/>
              </a:rPr>
              <a:t>4. Create the firewall rules on the logical server. Add the Client IP address.</a:t>
            </a:r>
          </a:p>
          <a:p>
            <a:pPr marL="0" indent="0">
              <a:buFont typeface="+mj-lt"/>
              <a:buNone/>
            </a:pPr>
            <a:r>
              <a:rPr lang="en-US" b="1" dirty="0"/>
              <a:t>5. Create Azure SQL Database with the portal. Go to your logical server – Overview – Click on New database</a:t>
            </a:r>
          </a:p>
          <a:p>
            <a:pPr marL="217262" lvl="1" indent="0">
              <a:buFontTx/>
              <a:buNone/>
            </a:pPr>
            <a:r>
              <a:rPr lang="en-US" sz="900" b="1" kern="1200" dirty="0">
                <a:solidFill>
                  <a:schemeClr val="tx1"/>
                </a:solidFill>
                <a:effectLst/>
                <a:latin typeface="Segoe UI Light" pitchFamily="34" charset="0"/>
                <a:ea typeface="+mn-ea"/>
                <a:cs typeface="+mn-cs"/>
              </a:rPr>
              <a:t>Database name	</a:t>
            </a:r>
            <a:r>
              <a:rPr lang="en-US" sz="900" b="1" kern="1200" dirty="0" err="1">
                <a:solidFill>
                  <a:schemeClr val="tx1"/>
                </a:solidFill>
                <a:effectLst/>
                <a:latin typeface="Segoe UI Light" pitchFamily="34" charset="0"/>
                <a:ea typeface="+mn-ea"/>
                <a:cs typeface="+mn-cs"/>
              </a:rPr>
              <a:t>Salesdb</a:t>
            </a:r>
            <a:endParaRPr lang="en-US" sz="900" b="1" kern="1200" dirty="0">
              <a:solidFill>
                <a:schemeClr val="tx1"/>
              </a:solidFill>
              <a:effectLst/>
              <a:latin typeface="Segoe UI Light" pitchFamily="34" charset="0"/>
              <a:ea typeface="+mn-ea"/>
              <a:cs typeface="+mn-cs"/>
            </a:endParaRPr>
          </a:p>
          <a:p>
            <a:pPr marL="217262" lvl="1" indent="0">
              <a:buFontTx/>
              <a:buNone/>
            </a:pPr>
            <a:r>
              <a:rPr lang="en-US" sz="900" b="1" kern="1200" dirty="0">
                <a:solidFill>
                  <a:schemeClr val="tx1"/>
                </a:solidFill>
                <a:effectLst/>
                <a:latin typeface="Segoe UI Light" pitchFamily="34" charset="0"/>
                <a:ea typeface="+mn-ea"/>
                <a:cs typeface="+mn-cs"/>
              </a:rPr>
              <a:t>Source Database	</a:t>
            </a:r>
            <a:r>
              <a:rPr lang="en-US" sz="900" b="0" kern="1200" dirty="0">
                <a:solidFill>
                  <a:schemeClr val="tx1"/>
                </a:solidFill>
                <a:effectLst/>
                <a:latin typeface="Segoe UI Light" pitchFamily="34" charset="0"/>
                <a:ea typeface="+mn-ea"/>
                <a:cs typeface="+mn-cs"/>
              </a:rPr>
              <a:t>Blank Database</a:t>
            </a:r>
            <a:endParaRPr lang="nl-BE" sz="900" b="0" kern="1200" dirty="0">
              <a:solidFill>
                <a:schemeClr val="tx1"/>
              </a:solidFill>
              <a:effectLst/>
              <a:latin typeface="Segoe UI Light" pitchFamily="34" charset="0"/>
              <a:ea typeface="+mn-ea"/>
              <a:cs typeface="+mn-cs"/>
            </a:endParaRPr>
          </a:p>
          <a:p>
            <a:pPr marL="217262" lvl="1" indent="0">
              <a:buFontTx/>
              <a:buNone/>
            </a:pPr>
            <a:r>
              <a:rPr lang="nl-BE" sz="900" b="1" kern="1200" dirty="0">
                <a:solidFill>
                  <a:schemeClr val="tx1"/>
                </a:solidFill>
                <a:effectLst/>
                <a:latin typeface="Segoe UI Light" pitchFamily="34" charset="0"/>
                <a:ea typeface="+mn-ea"/>
                <a:cs typeface="+mn-cs"/>
              </a:rPr>
              <a:t>Server		</a:t>
            </a:r>
            <a:r>
              <a:rPr lang="nl-BE" sz="900" b="0" kern="1200" dirty="0">
                <a:solidFill>
                  <a:schemeClr val="tx1"/>
                </a:solidFill>
                <a:effectLst/>
                <a:latin typeface="Segoe UI Light" pitchFamily="34" charset="0"/>
                <a:ea typeface="+mn-ea"/>
                <a:cs typeface="+mn-cs"/>
              </a:rPr>
              <a:t>This should be your logical server name</a:t>
            </a:r>
          </a:p>
          <a:p>
            <a:pPr marL="217262" marR="0" lvl="1"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Want to use SQL elastic pool?	</a:t>
            </a:r>
            <a:r>
              <a:rPr lang="en-US" sz="900" kern="1200" dirty="0">
                <a:solidFill>
                  <a:schemeClr val="tx1"/>
                </a:solidFill>
                <a:effectLst/>
                <a:latin typeface="Segoe UI Light" pitchFamily="34" charset="0"/>
                <a:ea typeface="+mn-ea"/>
                <a:cs typeface="+mn-cs"/>
              </a:rPr>
              <a:t>Not now</a:t>
            </a:r>
            <a:endParaRPr lang="nl-BE" sz="900" kern="1200" dirty="0">
              <a:solidFill>
                <a:schemeClr val="tx1"/>
              </a:solidFill>
              <a:effectLst/>
              <a:latin typeface="Segoe UI Light" pitchFamily="34" charset="0"/>
              <a:ea typeface="+mn-ea"/>
              <a:cs typeface="+mn-cs"/>
            </a:endParaRPr>
          </a:p>
          <a:p>
            <a:pPr marL="217262" lvl="1" indent="0">
              <a:buFontTx/>
              <a:buNone/>
            </a:pPr>
            <a:r>
              <a:rPr lang="nl-BE" sz="900" b="1" kern="1200" dirty="0">
                <a:solidFill>
                  <a:schemeClr val="tx1"/>
                </a:solidFill>
                <a:effectLst/>
                <a:latin typeface="Segoe UI Light" pitchFamily="34" charset="0"/>
                <a:ea typeface="+mn-ea"/>
                <a:cs typeface="+mn-cs"/>
              </a:rPr>
              <a:t>Pricing Tier		</a:t>
            </a:r>
            <a:r>
              <a:rPr lang="nl-BE" sz="900" b="0" kern="1200" dirty="0">
                <a:solidFill>
                  <a:schemeClr val="tx1"/>
                </a:solidFill>
                <a:effectLst/>
                <a:latin typeface="Segoe UI Light" pitchFamily="34" charset="0"/>
                <a:ea typeface="+mn-ea"/>
                <a:cs typeface="+mn-cs"/>
              </a:rPr>
              <a:t>Basic</a:t>
            </a:r>
            <a:endParaRPr lang="nl-BE" sz="900" b="1" kern="1200" dirty="0">
              <a:solidFill>
                <a:schemeClr val="tx1"/>
              </a:solidFill>
              <a:effectLst/>
              <a:latin typeface="Segoe UI Light" pitchFamily="34" charset="0"/>
              <a:ea typeface="+mn-ea"/>
              <a:cs typeface="+mn-cs"/>
            </a:endParaRPr>
          </a:p>
          <a:p>
            <a:pPr marL="217262" lvl="1" indent="0">
              <a:buFontTx/>
              <a:buNone/>
            </a:pPr>
            <a:r>
              <a:rPr lang="en-US" sz="900" b="1" kern="1200" dirty="0">
                <a:solidFill>
                  <a:schemeClr val="tx1"/>
                </a:solidFill>
                <a:effectLst/>
                <a:latin typeface="Segoe UI Light" pitchFamily="34" charset="0"/>
                <a:ea typeface="+mn-ea"/>
                <a:cs typeface="+mn-cs"/>
              </a:rPr>
              <a:t>Collation		</a:t>
            </a:r>
            <a:r>
              <a:rPr lang="en-US" sz="900" kern="1200" dirty="0">
                <a:solidFill>
                  <a:schemeClr val="tx1"/>
                </a:solidFill>
                <a:effectLst/>
                <a:latin typeface="Segoe UI Light" pitchFamily="34" charset="0"/>
                <a:ea typeface="+mn-ea"/>
                <a:cs typeface="+mn-cs"/>
              </a:rPr>
              <a:t>SQL_Latin1_General_CP1_CI_AS</a:t>
            </a:r>
            <a:endParaRPr lang="nl-BE"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Demo Requirements</a:t>
            </a:r>
            <a:endParaRPr lang="en-US" b="0" dirty="0"/>
          </a:p>
          <a:p>
            <a:pPr marL="171450" indent="-171450">
              <a:buFontTx/>
              <a:buChar char="-"/>
            </a:pPr>
            <a:r>
              <a:rPr lang="en-US" b="0" dirty="0" err="1"/>
              <a:t>Salesdb</a:t>
            </a:r>
            <a:r>
              <a:rPr lang="en-US" b="0" dirty="0"/>
              <a:t> that was created in module 1</a:t>
            </a:r>
          </a:p>
          <a:p>
            <a:pPr marL="171450" indent="-171450">
              <a:buFontTx/>
              <a:buChar char="-"/>
            </a:pPr>
            <a:r>
              <a:rPr lang="en-US" b="0" dirty="0"/>
              <a:t>Use the script </a:t>
            </a:r>
            <a:r>
              <a:rPr lang="en-US" b="1" dirty="0"/>
              <a:t>C:\Demos\M05L02Demo01\Workload.sql</a:t>
            </a:r>
            <a:r>
              <a:rPr lang="en-US" b="0" dirty="0"/>
              <a:t>. </a:t>
            </a:r>
          </a:p>
          <a:p>
            <a:pPr marL="171450" indent="-171450">
              <a:buFontTx/>
              <a:buChar char="-"/>
            </a:pPr>
            <a:r>
              <a:rPr lang="en-US" b="0" dirty="0"/>
              <a:t>Make sure that you have already created and populated the table because this takes a few minutes to complete</a:t>
            </a:r>
          </a:p>
          <a:p>
            <a:pPr marL="171450" indent="-171450">
              <a:buFontTx/>
              <a:buChar char="-"/>
            </a:pPr>
            <a:r>
              <a:rPr lang="en-US" b="0" dirty="0"/>
              <a:t>SSMS</a:t>
            </a:r>
          </a:p>
          <a:p>
            <a:pPr marL="171450" indent="-171450">
              <a:buFontTx/>
              <a:buChar char="-"/>
            </a:pPr>
            <a:endParaRPr lang="en-US" b="0" dirty="0"/>
          </a:p>
          <a:p>
            <a:pPr marL="0" indent="0">
              <a:buFontTx/>
              <a:buNone/>
            </a:pPr>
            <a:r>
              <a:rPr lang="en-US" b="1" dirty="0"/>
              <a:t>Steps:</a:t>
            </a:r>
            <a:endParaRPr lang="en-US" b="0" dirty="0"/>
          </a:p>
          <a:p>
            <a:pPr marL="228600" indent="-228600">
              <a:buFontTx/>
              <a:buAutoNum type="arabicPeriod"/>
            </a:pPr>
            <a:r>
              <a:rPr lang="en-US" b="0" dirty="0"/>
              <a:t>Open your SSMS, connect to your logical server</a:t>
            </a:r>
          </a:p>
          <a:p>
            <a:pPr marL="228600" indent="-228600">
              <a:buFontTx/>
              <a:buAutoNum type="arabicPeriod"/>
            </a:pPr>
            <a:r>
              <a:rPr lang="en-US" b="0" dirty="0"/>
              <a:t>Right click on the </a:t>
            </a:r>
            <a:r>
              <a:rPr lang="en-US" b="0" dirty="0" err="1"/>
              <a:t>salesdb</a:t>
            </a:r>
            <a:r>
              <a:rPr lang="en-US" b="0" dirty="0"/>
              <a:t> and select Properties </a:t>
            </a:r>
            <a:r>
              <a:rPr lang="en-US" b="0" dirty="0">
                <a:sym typeface="Wingdings" panose="05000000000000000000" pitchFamily="2" charset="2"/>
              </a:rPr>
              <a:t> Query Store</a:t>
            </a:r>
          </a:p>
          <a:p>
            <a:pPr marL="228600" indent="-228600">
              <a:buFontTx/>
              <a:buAutoNum type="arabicPeriod"/>
            </a:pPr>
            <a:r>
              <a:rPr lang="en-US" b="0" dirty="0">
                <a:sym typeface="Wingdings" panose="05000000000000000000" pitchFamily="2" charset="2"/>
              </a:rPr>
              <a:t>Change the following settings:</a:t>
            </a:r>
          </a:p>
          <a:p>
            <a:pPr marL="445862" lvl="1" indent="-228600">
              <a:buFontTx/>
              <a:buAutoNum type="arabicPeriod"/>
            </a:pPr>
            <a:r>
              <a:rPr lang="en-US" b="0" dirty="0">
                <a:sym typeface="Wingdings" panose="05000000000000000000" pitchFamily="2" charset="2"/>
              </a:rPr>
              <a:t>Data Flush Interval  1min</a:t>
            </a:r>
          </a:p>
          <a:p>
            <a:pPr marL="445862" lvl="1" indent="-228600">
              <a:buFontTx/>
              <a:buAutoNum type="arabicPeriod"/>
            </a:pPr>
            <a:r>
              <a:rPr lang="en-US" b="0" dirty="0">
                <a:sym typeface="Wingdings" panose="05000000000000000000" pitchFamily="2" charset="2"/>
              </a:rPr>
              <a:t>Statistics Collection Interval  1 Minute</a:t>
            </a:r>
          </a:p>
          <a:p>
            <a:pPr marL="228600" lvl="0" indent="-228600">
              <a:buFontTx/>
              <a:buAutoNum type="arabicPeriod"/>
            </a:pPr>
            <a:r>
              <a:rPr lang="en-US" b="0" dirty="0">
                <a:sym typeface="Wingdings" panose="05000000000000000000" pitchFamily="2" charset="2"/>
              </a:rPr>
              <a:t>Click on “Purge Query Data” to empty the Query Store</a:t>
            </a:r>
          </a:p>
          <a:p>
            <a:pPr marL="228600" lvl="0" indent="-228600">
              <a:buFontTx/>
              <a:buAutoNum type="arabicPeriod"/>
            </a:pPr>
            <a:r>
              <a:rPr lang="en-US" b="0" dirty="0">
                <a:sym typeface="Wingdings" panose="05000000000000000000" pitchFamily="2" charset="2"/>
              </a:rPr>
              <a:t>Open the </a:t>
            </a:r>
            <a:r>
              <a:rPr lang="en-US" b="0" dirty="0" err="1">
                <a:sym typeface="Wingdings" panose="05000000000000000000" pitchFamily="2" charset="2"/>
              </a:rPr>
              <a:t>Workload.sql</a:t>
            </a:r>
            <a:r>
              <a:rPr lang="en-US" b="0" dirty="0">
                <a:sym typeface="Wingdings" panose="05000000000000000000" pitchFamily="2" charset="2"/>
              </a:rPr>
              <a:t> file and execute the stored procedure</a:t>
            </a:r>
          </a:p>
          <a:p>
            <a:r>
              <a:rPr lang="en-US" b="0" dirty="0">
                <a:sym typeface="Wingdings" panose="05000000000000000000" pitchFamily="2" charset="2"/>
              </a:rPr>
              <a:t>	</a:t>
            </a: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3</a:t>
            </a:r>
          </a:p>
          <a:p>
            <a:pPr marL="510093" lvl="4" indent="0">
              <a:buNone/>
            </a:pPr>
            <a:r>
              <a:rPr lang="nl-BE" sz="900" kern="1200" dirty="0">
                <a:solidFill>
                  <a:schemeClr val="tx1"/>
                </a:solidFill>
                <a:latin typeface="Segoe UI Light" pitchFamily="34" charset="0"/>
                <a:ea typeface="+mn-ea"/>
                <a:cs typeface="+mn-cs"/>
              </a:rPr>
              <a:t>GO 20</a:t>
            </a:r>
          </a:p>
          <a:p>
            <a:pPr marL="510093" lvl="4" indent="0">
              <a:buNone/>
            </a:pP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1023</a:t>
            </a:r>
          </a:p>
          <a:p>
            <a:pPr marL="510093" lvl="4" indent="0">
              <a:buNone/>
            </a:pPr>
            <a:r>
              <a:rPr lang="nl-BE" sz="900" kern="1200" dirty="0">
                <a:solidFill>
                  <a:schemeClr val="tx1"/>
                </a:solidFill>
                <a:latin typeface="Segoe UI Light" pitchFamily="34" charset="0"/>
                <a:ea typeface="+mn-ea"/>
                <a:cs typeface="+mn-cs"/>
              </a:rPr>
              <a:t>GO 20</a:t>
            </a:r>
            <a:endParaRPr lang="en-US" sz="900" b="1"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6. Create the non-clustered index and execute the stored procedure </a:t>
            </a: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3 again</a:t>
            </a:r>
          </a:p>
          <a:p>
            <a:pPr marL="0" lvl="0" indent="-117403">
              <a:buNone/>
            </a:pPr>
            <a:r>
              <a:rPr lang="en-US" sz="900" b="0" kern="1200" dirty="0">
                <a:solidFill>
                  <a:schemeClr val="tx1"/>
                </a:solidFill>
                <a:latin typeface="Segoe UI Light" pitchFamily="34" charset="0"/>
                <a:ea typeface="+mn-ea"/>
                <a:cs typeface="+mn-cs"/>
              </a:rPr>
              <a:t>7. Wait for 1 minute so that the query store can collect the execution times and the Query plans. You should see 2 query plans for the same query</a:t>
            </a:r>
          </a:p>
          <a:p>
            <a:pPr marL="0" lvl="0" indent="-117403">
              <a:buNone/>
            </a:pPr>
            <a:endParaRPr lang="en-US" sz="900" b="0"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8. Open the Azure Portal, go to the </a:t>
            </a:r>
            <a:r>
              <a:rPr lang="en-US" sz="900" b="0" kern="1200" dirty="0" err="1">
                <a:solidFill>
                  <a:schemeClr val="tx1"/>
                </a:solidFill>
                <a:latin typeface="Segoe UI Light" pitchFamily="34" charset="0"/>
                <a:ea typeface="+mn-ea"/>
                <a:cs typeface="+mn-cs"/>
              </a:rPr>
              <a:t>salesdb</a:t>
            </a:r>
            <a:r>
              <a:rPr lang="en-US" sz="900" b="0" kern="1200" dirty="0">
                <a:solidFill>
                  <a:schemeClr val="tx1"/>
                </a:solidFill>
                <a:latin typeface="Segoe UI Light" pitchFamily="34" charset="0"/>
                <a:ea typeface="+mn-ea"/>
                <a:cs typeface="+mn-cs"/>
              </a:rPr>
              <a:t> and click on Query Performance Insight</a:t>
            </a:r>
          </a:p>
          <a:p>
            <a:pPr marL="0" lvl="0" indent="-117403">
              <a:buNone/>
            </a:pPr>
            <a:r>
              <a:rPr lang="en-US" sz="900" b="0" kern="1200" dirty="0">
                <a:solidFill>
                  <a:schemeClr val="tx1"/>
                </a:solidFill>
                <a:latin typeface="Segoe UI Light" pitchFamily="34" charset="0"/>
                <a:ea typeface="+mn-ea"/>
                <a:cs typeface="+mn-cs"/>
              </a:rPr>
              <a:t>9. The query of the stored procedure should be available.</a:t>
            </a:r>
          </a:p>
          <a:p>
            <a:pPr marL="0" lvl="0" indent="-117403">
              <a:buNone/>
            </a:pPr>
            <a:r>
              <a:rPr lang="en-US" sz="900" b="0" kern="1200" dirty="0">
                <a:solidFill>
                  <a:schemeClr val="tx1"/>
                </a:solidFill>
                <a:latin typeface="Segoe UI Light" pitchFamily="34" charset="0"/>
                <a:ea typeface="+mn-ea"/>
                <a:cs typeface="+mn-cs"/>
              </a:rPr>
              <a:t>10. Show the dashboard of the resource consuming query and click on the query to drill down in more execution statistics of the query</a:t>
            </a:r>
          </a:p>
          <a:p>
            <a:pPr marL="0" lvl="0" indent="-117403">
              <a:buNone/>
            </a:pPr>
            <a:endParaRPr lang="en-US" sz="900" b="0"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11. Go back to the Object Explorer of SSMS </a:t>
            </a:r>
            <a:r>
              <a:rPr lang="en-US" sz="900" b="0" kern="1200" dirty="0">
                <a:solidFill>
                  <a:schemeClr val="tx1"/>
                </a:solidFill>
                <a:latin typeface="Segoe UI Light" pitchFamily="34" charset="0"/>
                <a:ea typeface="+mn-ea"/>
                <a:cs typeface="+mn-cs"/>
                <a:sym typeface="Wingdings" panose="05000000000000000000" pitchFamily="2" charset="2"/>
              </a:rPr>
              <a:t> Query store  Top Resource Consuming Queries</a:t>
            </a:r>
          </a:p>
          <a:p>
            <a:pPr marL="0" lvl="0" indent="-117403">
              <a:buNone/>
            </a:pPr>
            <a:r>
              <a:rPr lang="en-US" sz="900" b="0" kern="1200" dirty="0">
                <a:solidFill>
                  <a:schemeClr val="tx1"/>
                </a:solidFill>
                <a:latin typeface="Segoe UI Light" pitchFamily="34" charset="0"/>
                <a:ea typeface="+mn-ea"/>
                <a:cs typeface="+mn-cs"/>
                <a:sym typeface="Wingdings" panose="05000000000000000000" pitchFamily="2" charset="2"/>
              </a:rPr>
              <a:t>12. Show the different option of the query store and also show that there are 2 different query plans for the same query.</a:t>
            </a:r>
          </a:p>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3</a:t>
            </a:fld>
            <a:endParaRPr lang="en-US"/>
          </a:p>
        </p:txBody>
      </p:sp>
    </p:spTree>
    <p:extLst>
      <p:ext uri="{BB962C8B-B14F-4D97-AF65-F5344CB8AC3E}">
        <p14:creationId xmlns:p14="http://schemas.microsoft.com/office/powerpoint/2010/main" val="3832109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Please consider editing or deleting “</a:t>
            </a:r>
            <a:r>
              <a:rPr lang="en-US" sz="1400" dirty="0"/>
              <a:t>Give me the top queries that have changed in performance compared to the number of executions. “</a:t>
            </a:r>
          </a:p>
        </p:txBody>
      </p:sp>
    </p:spTree>
    <p:extLst>
      <p:ext uri="{BB962C8B-B14F-4D97-AF65-F5344CB8AC3E}">
        <p14:creationId xmlns:p14="http://schemas.microsoft.com/office/powerpoint/2010/main" val="1475618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https://docs.microsoft.com/en-us/azure/sql-database/sql-database-insights-alerts-portal</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12069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Docs: Query Performance Insight - Azure SQL Database | Microsoft Docs</a:t>
            </a:r>
            <a:endParaRPr lang="en-US" dirty="0"/>
          </a:p>
          <a:p>
            <a:endParaRPr lang="en-US" dirty="0"/>
          </a:p>
          <a:p>
            <a:r>
              <a:rPr lang="en-US" dirty="0">
                <a:hlinkClick r:id="rId4"/>
              </a:rPr>
              <a:t>Deliver consistent performance with Azure SQL - Learn | Microsoft Docs</a:t>
            </a:r>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3</a:t>
            </a:fld>
            <a:endParaRPr lang="en-US"/>
          </a:p>
        </p:txBody>
      </p:sp>
    </p:spTree>
    <p:extLst>
      <p:ext uri="{BB962C8B-B14F-4D97-AF65-F5344CB8AC3E}">
        <p14:creationId xmlns:p14="http://schemas.microsoft.com/office/powerpoint/2010/main" val="4149612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Docs: Query Performance Insight - Azure SQL Database | Microsoft Docs</a:t>
            </a:r>
            <a:endParaRPr lang="en-US" dirty="0"/>
          </a:p>
          <a:p>
            <a:endParaRPr lang="en-US" dirty="0"/>
          </a:p>
          <a:p>
            <a:r>
              <a:rPr lang="en-US" dirty="0">
                <a:hlinkClick r:id="rId4"/>
              </a:rPr>
              <a:t>Deliver consistent performance with Azure SQL - Learn | Microsoft Docs</a:t>
            </a:r>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4</a:t>
            </a:fld>
            <a:endParaRPr lang="en-US"/>
          </a:p>
        </p:txBody>
      </p:sp>
    </p:spTree>
    <p:extLst>
      <p:ext uri="{BB962C8B-B14F-4D97-AF65-F5344CB8AC3E}">
        <p14:creationId xmlns:p14="http://schemas.microsoft.com/office/powerpoint/2010/main" val="2096541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Docs: Query Performance Insight - Azure SQL Database | Microsoft Docs</a:t>
            </a:r>
            <a:endParaRPr lang="en-US" dirty="0"/>
          </a:p>
          <a:p>
            <a:endParaRPr lang="en-US" dirty="0"/>
          </a:p>
          <a:p>
            <a:r>
              <a:rPr lang="en-US" dirty="0">
                <a:hlinkClick r:id="rId4"/>
              </a:rPr>
              <a:t>Deliver consistent performance with Azure SQL - Learn | Microsoft Docs</a:t>
            </a:r>
            <a:endParaRPr lang="en-US" dirty="0"/>
          </a:p>
          <a:p>
            <a:endParaRPr lang="en-US" dirty="0"/>
          </a:p>
          <a:p>
            <a:r>
              <a:rPr lang="en-US" dirty="0">
                <a:hlinkClick r:id="rId5"/>
              </a:rPr>
              <a:t>GitHub - </a:t>
            </a:r>
            <a:r>
              <a:rPr lang="en-US" dirty="0" err="1">
                <a:hlinkClick r:id="rId5"/>
              </a:rPr>
              <a:t>microsoft</a:t>
            </a:r>
            <a:r>
              <a:rPr lang="en-US" dirty="0">
                <a:hlinkClick r:id="rId5"/>
              </a:rPr>
              <a:t>/</a:t>
            </a:r>
            <a:r>
              <a:rPr lang="en-US" dirty="0" err="1">
                <a:hlinkClick r:id="rId5"/>
              </a:rPr>
              <a:t>sqlworkshops-azuresqlworkshop</a:t>
            </a:r>
            <a:r>
              <a:rPr lang="en-US" dirty="0">
                <a:hlinkClick r:id="rId5"/>
              </a:rPr>
              <a:t>: Azure SQL Workshop</a:t>
            </a:r>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5</a:t>
            </a:fld>
            <a:endParaRPr lang="en-US"/>
          </a:p>
        </p:txBody>
      </p:sp>
    </p:spTree>
    <p:extLst>
      <p:ext uri="{BB962C8B-B14F-4D97-AF65-F5344CB8AC3E}">
        <p14:creationId xmlns:p14="http://schemas.microsoft.com/office/powerpoint/2010/main" val="3626703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Please consider editing or deleting “</a:t>
            </a:r>
            <a:r>
              <a:rPr lang="en-US" sz="1400" dirty="0"/>
              <a:t>Give me the top queries that have changed in performance compared to the number of executions. “</a:t>
            </a:r>
          </a:p>
        </p:txBody>
      </p:sp>
    </p:spTree>
    <p:extLst>
      <p:ext uri="{BB962C8B-B14F-4D97-AF65-F5344CB8AC3E}">
        <p14:creationId xmlns:p14="http://schemas.microsoft.com/office/powerpoint/2010/main" val="3035895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2582723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3744682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1365042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343400"/>
            <a:ext cx="5943600" cy="4114800"/>
          </a:xfrm>
        </p:spPr>
        <p:txBody>
          <a:bodyPr/>
          <a:lstStyle/>
          <a:p>
            <a:endParaRPr lang="en-US" dirty="0"/>
          </a:p>
        </p:txBody>
      </p:sp>
      <p:sp>
        <p:nvSpPr>
          <p:cNvPr id="4" name="Rectangular Callout 3"/>
          <p:cNvSpPr/>
          <p:nvPr/>
        </p:nvSpPr>
        <p:spPr>
          <a:xfrm>
            <a:off x="5943600" y="4495800"/>
            <a:ext cx="3276600" cy="121920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t>Please consider editing or deleting “</a:t>
            </a:r>
            <a:r>
              <a:rPr lang="en-US" sz="1400" dirty="0"/>
              <a:t>Give me the top queries that have changed in performance compared to the number of executions. “</a:t>
            </a:r>
          </a:p>
        </p:txBody>
      </p:sp>
    </p:spTree>
    <p:extLst>
      <p:ext uri="{BB962C8B-B14F-4D97-AF65-F5344CB8AC3E}">
        <p14:creationId xmlns:p14="http://schemas.microsoft.com/office/powerpoint/2010/main" val="4120983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06284778"/>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8116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7608134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92262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699766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938147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910945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7163829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54353549"/>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06389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2816233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7618259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4165693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0807371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0131785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6488328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159660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67344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906413199"/>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619325115"/>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9/28/2021</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233926671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77177017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24846069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9684587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62795120"/>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79542848"/>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12739715"/>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56812740"/>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46897048"/>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53028955"/>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82501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5197962"/>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8922692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7297045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97671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2090875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9353486"/>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5187326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5419078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034253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59275875"/>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87923" y="3"/>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81576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5004176"/>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933175140"/>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2467531"/>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4054984"/>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9365970"/>
      </p:ext>
    </p:extLst>
  </p:cSld>
  <p:clrMapOvr>
    <a:masterClrMapping/>
  </p:clrMapOvr>
  <p:hf sldNum="0"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7933271"/>
      </p:ext>
    </p:extLst>
  </p:cSld>
  <p:clrMapOvr>
    <a:masterClrMapping/>
  </p:clrMapOvr>
  <p:hf sldNum="0" hdr="0" ftr="0" dt="0"/>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91131514"/>
      </p:ext>
    </p:extLst>
  </p:cSld>
  <p:clrMapOvr>
    <a:masterClrMapping/>
  </p:clrMapOvr>
  <p:hf sldNum="0" hdr="0" ftr="0" dt="0"/>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22343"/>
      </p:ext>
    </p:extLst>
  </p:cSld>
  <p:clrMapOvr>
    <a:masterClrMapping/>
  </p:clrMapOvr>
  <p:hf sldNum="0" hdr="0" ft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05652450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2013096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880733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7683" y="3436157"/>
            <a:ext cx="6276531" cy="1793104"/>
          </a:xfrm>
          <a:prstGeom prst="rect">
            <a:avLst/>
          </a:prstGeo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pic>
        <p:nvPicPr>
          <p:cNvPr id="4" name="Picture 3" descr="A picture containing bridge, water, light&#10;&#10;Description automatically generated">
            <a:extLst>
              <a:ext uri="{FF2B5EF4-FFF2-40B4-BE49-F238E27FC236}">
                <a16:creationId xmlns:a16="http://schemas.microsoft.com/office/drawing/2014/main" id="{80C823BC-3C70-4E25-8C60-5F08CB234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805"/>
            <a:ext cx="12192000" cy="6889924"/>
          </a:xfrm>
          <a:prstGeom prst="rect">
            <a:avLst/>
          </a:prstGeom>
        </p:spPr>
      </p:pic>
      <p:sp>
        <p:nvSpPr>
          <p:cNvPr id="2" name="Rectangle 1">
            <a:extLst>
              <a:ext uri="{FF2B5EF4-FFF2-40B4-BE49-F238E27FC236}">
                <a16:creationId xmlns:a16="http://schemas.microsoft.com/office/drawing/2014/main" id="{3F8B97E7-4A0D-42C1-BCBF-5B395C77C795}"/>
              </a:ext>
            </a:extLst>
          </p:cNvPr>
          <p:cNvSpPr/>
          <p:nvPr userDrawn="1"/>
        </p:nvSpPr>
        <p:spPr bwMode="auto">
          <a:xfrm>
            <a:off x="0" y="2725445"/>
            <a:ext cx="4003829" cy="4065972"/>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ln>
                <a:noFill/>
              </a:ln>
              <a:solidFill>
                <a:schemeClr val="tx1">
                  <a:lumMod val="50000"/>
                </a:schemeClr>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26E17756-5BE1-4A06-9D1A-CF555E584ECF}"/>
              </a:ext>
            </a:extLst>
          </p:cNvPr>
          <p:cNvSpPr/>
          <p:nvPr userDrawn="1"/>
        </p:nvSpPr>
        <p:spPr bwMode="auto">
          <a:xfrm rot="5400000">
            <a:off x="806757" y="2622243"/>
            <a:ext cx="3429001" cy="5042517"/>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ln>
                <a:noFill/>
              </a:ln>
              <a:solidFill>
                <a:schemeClr val="tx1">
                  <a:lumMod val="50000"/>
                </a:schemeClr>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6D89EAB6-0D46-48C7-A14E-E47C3C54E970}"/>
              </a:ext>
            </a:extLst>
          </p:cNvPr>
          <p:cNvSpPr/>
          <p:nvPr userDrawn="1"/>
        </p:nvSpPr>
        <p:spPr bwMode="auto">
          <a:xfrm rot="5400000">
            <a:off x="1903585" y="2975379"/>
            <a:ext cx="2737041" cy="5042517"/>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ln>
                <a:noFill/>
              </a:ln>
              <a:solidFill>
                <a:schemeClr val="tx1">
                  <a:lumMod val="50000"/>
                </a:schemeClr>
              </a:solidFill>
              <a:ea typeface="Segoe UI" pitchFamily="34" charset="0"/>
              <a:cs typeface="Segoe UI" pitchFamily="34" charset="0"/>
            </a:endParaRPr>
          </a:p>
        </p:txBody>
      </p:sp>
    </p:spTree>
    <p:extLst>
      <p:ext uri="{BB962C8B-B14F-4D97-AF65-F5344CB8AC3E}">
        <p14:creationId xmlns:p14="http://schemas.microsoft.com/office/powerpoint/2010/main" val="75415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2780648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tags" Target="../tags/tag3.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image" Target="../media/image3.emf"/><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tags" Target="../tags/tag4.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tags" Target="../tags/tag2.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1" Type="http://schemas.openxmlformats.org/officeDocument/2006/relationships/slideLayout" Target="../slideLayouts/slideLayout15.xml"/><Relationship Id="rId6"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Azure SQL Database Performance Tuning</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97" r:id="rId6"/>
    <p:sldLayoutId id="2147483699" r:id="rId7"/>
    <p:sldLayoutId id="2147483768" r:id="rId8"/>
    <p:sldLayoutId id="2147483769" r:id="rId9"/>
    <p:sldLayoutId id="2147483770" r:id="rId10"/>
    <p:sldLayoutId id="2147483772" r:id="rId11"/>
    <p:sldLayoutId id="2147483773" r:id="rId12"/>
    <p:sldLayoutId id="2147483774" r:id="rId13"/>
    <p:sldLayoutId id="2147483775" r:id="rId1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612320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9.png"/><Relationship Id="rId7" Type="http://schemas.openxmlformats.org/officeDocument/2006/relationships/diagramColors" Target="../diagrams/colors5.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1.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0.png"/><Relationship Id="rId7" Type="http://schemas.openxmlformats.org/officeDocument/2006/relationships/diagramColors" Target="../diagrams/colors6.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7.xml"/><Relationship Id="rId5" Type="http://schemas.openxmlformats.org/officeDocument/2006/relationships/diagramQuickStyle" Target="../diagrams/quickStyle7.xml"/><Relationship Id="rId10" Type="http://schemas.openxmlformats.org/officeDocument/2006/relationships/image" Target="../media/image23.png"/><Relationship Id="rId4" Type="http://schemas.openxmlformats.org/officeDocument/2006/relationships/diagramLayout" Target="../diagrams/layout7.xml"/><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hyperlink" Target="https://github.com/microsoft/sqlworkshops-azuresqlworkshop" TargetMode="External"/><Relationship Id="rId5" Type="http://schemas.openxmlformats.org/officeDocument/2006/relationships/hyperlink" Target="https://docs.microsoft.com/en-us/learn/modules/azure-sql-performance/" TargetMode="External"/><Relationship Id="rId4" Type="http://schemas.openxmlformats.org/officeDocument/2006/relationships/hyperlink" Target="https://docs.microsoft.com/en-us/azure/azure-sql/database/query-performance-insight-use"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5.png"/><Relationship Id="rId7" Type="http://schemas.openxmlformats.org/officeDocument/2006/relationships/diagramColors" Target="../diagrams/colors2.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8.png"/><Relationship Id="rId7" Type="http://schemas.openxmlformats.org/officeDocument/2006/relationships/diagramColors" Target="../diagrams/colors4.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p:nvPr>
        </p:nvSpPr>
        <p:spPr>
          <a:xfrm>
            <a:off x="370314" y="4113146"/>
            <a:ext cx="6276531" cy="1793104"/>
          </a:xfrm>
        </p:spPr>
        <p:txBody>
          <a:bodyPr/>
          <a:lstStyle/>
          <a:p>
            <a:pPr>
              <a:lnSpc>
                <a:spcPct val="100000"/>
              </a:lnSpc>
            </a:pPr>
            <a:r>
              <a:rPr lang="en-US" b="1" dirty="0"/>
              <a:t>Azure SQL Database Performance Tuning</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4103587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Query Performance Insight </a:t>
            </a:r>
          </a:p>
        </p:txBody>
      </p:sp>
      <p:pic>
        <p:nvPicPr>
          <p:cNvPr id="12" name="Picture 11">
            <a:extLst>
              <a:ext uri="{FF2B5EF4-FFF2-40B4-BE49-F238E27FC236}">
                <a16:creationId xmlns:a16="http://schemas.microsoft.com/office/drawing/2014/main" id="{0A911852-9BD0-429D-BF7E-A43900FD6951}"/>
              </a:ext>
            </a:extLst>
          </p:cNvPr>
          <p:cNvPicPr>
            <a:picLocks noChangeAspect="1"/>
          </p:cNvPicPr>
          <p:nvPr/>
        </p:nvPicPr>
        <p:blipFill>
          <a:blip r:embed="rId3"/>
          <a:stretch>
            <a:fillRect/>
          </a:stretch>
        </p:blipFill>
        <p:spPr>
          <a:xfrm>
            <a:off x="4314728" y="1092061"/>
            <a:ext cx="7329722" cy="4911740"/>
          </a:xfrm>
          <a:prstGeom prst="rect">
            <a:avLst/>
          </a:prstGeom>
          <a:ln>
            <a:noFill/>
          </a:ln>
          <a:effectLst>
            <a:outerShdw blurRad="190500" algn="tl" rotWithShape="0">
              <a:srgbClr val="000000">
                <a:alpha val="70000"/>
              </a:srgbClr>
            </a:outerShdw>
          </a:effectLst>
        </p:spPr>
      </p:pic>
      <p:graphicFrame>
        <p:nvGraphicFramePr>
          <p:cNvPr id="8" name="Diagram 7">
            <a:extLst>
              <a:ext uri="{FF2B5EF4-FFF2-40B4-BE49-F238E27FC236}">
                <a16:creationId xmlns:a16="http://schemas.microsoft.com/office/drawing/2014/main" id="{10D81DE5-3D6B-42EC-8D24-F9FDCAD4BC0A}"/>
              </a:ext>
            </a:extLst>
          </p:cNvPr>
          <p:cNvGraphicFramePr/>
          <p:nvPr>
            <p:extLst>
              <p:ext uri="{D42A27DB-BD31-4B8C-83A1-F6EECF244321}">
                <p14:modId xmlns:p14="http://schemas.microsoft.com/office/powerpoint/2010/main" val="3229060546"/>
              </p:ext>
            </p:extLst>
          </p:nvPr>
        </p:nvGraphicFramePr>
        <p:xfrm>
          <a:off x="655638" y="1329802"/>
          <a:ext cx="3257223" cy="443625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0705482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355107" y="274638"/>
            <a:ext cx="11227293" cy="1143000"/>
          </a:xfrm>
        </p:spPr>
        <p:txBody>
          <a:bodyPr/>
          <a:lstStyle/>
          <a:p>
            <a:r>
              <a:rPr lang="en-US" dirty="0"/>
              <a:t>Performance Recommendations</a:t>
            </a:r>
          </a:p>
        </p:txBody>
      </p:sp>
      <p:pic>
        <p:nvPicPr>
          <p:cNvPr id="1026" name="Picture 2" descr="Table&#10;&#10;Description automatically generated">
            <a:extLst>
              <a:ext uri="{FF2B5EF4-FFF2-40B4-BE49-F238E27FC236}">
                <a16:creationId xmlns:a16="http://schemas.microsoft.com/office/drawing/2014/main" id="{5EFB34A4-DCFC-4950-80B4-FCBD3A452B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6738" y="2019329"/>
            <a:ext cx="6275577" cy="2557565"/>
          </a:xfrm>
          <a:prstGeom prst="rect">
            <a:avLst/>
          </a:prstGeom>
          <a:ln>
            <a:noFill/>
          </a:ln>
          <a:effectLst>
            <a:outerShdw blurRad="190500" algn="tl" rotWithShape="0">
              <a:srgbClr val="000000">
                <a:alpha val="70000"/>
              </a:srgbClr>
            </a:outerShdw>
          </a:effectLst>
        </p:spPr>
      </p:pic>
      <p:graphicFrame>
        <p:nvGraphicFramePr>
          <p:cNvPr id="3" name="Diagram 2">
            <a:extLst>
              <a:ext uri="{FF2B5EF4-FFF2-40B4-BE49-F238E27FC236}">
                <a16:creationId xmlns:a16="http://schemas.microsoft.com/office/drawing/2014/main" id="{79F894CE-C945-4784-A403-CAFF08132DF2}"/>
              </a:ext>
            </a:extLst>
          </p:cNvPr>
          <p:cNvGraphicFramePr/>
          <p:nvPr>
            <p:extLst>
              <p:ext uri="{D42A27DB-BD31-4B8C-83A1-F6EECF244321}">
                <p14:modId xmlns:p14="http://schemas.microsoft.com/office/powerpoint/2010/main" val="2044039462"/>
              </p:ext>
            </p:extLst>
          </p:nvPr>
        </p:nvGraphicFramePr>
        <p:xfrm>
          <a:off x="530314" y="1417638"/>
          <a:ext cx="4692581" cy="42473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8685548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355107" y="274638"/>
            <a:ext cx="11227293" cy="1143000"/>
          </a:xfrm>
        </p:spPr>
        <p:txBody>
          <a:bodyPr/>
          <a:lstStyle/>
          <a:p>
            <a:r>
              <a:rPr lang="en-US" dirty="0"/>
              <a:t>Automatic Tuning</a:t>
            </a:r>
          </a:p>
        </p:txBody>
      </p:sp>
      <p:graphicFrame>
        <p:nvGraphicFramePr>
          <p:cNvPr id="5" name="Diagram 4">
            <a:extLst>
              <a:ext uri="{FF2B5EF4-FFF2-40B4-BE49-F238E27FC236}">
                <a16:creationId xmlns:a16="http://schemas.microsoft.com/office/drawing/2014/main" id="{F7922D4F-C644-45C2-8532-8663AAA0F0E3}"/>
              </a:ext>
            </a:extLst>
          </p:cNvPr>
          <p:cNvGraphicFramePr/>
          <p:nvPr/>
        </p:nvGraphicFramePr>
        <p:xfrm>
          <a:off x="400167" y="995039"/>
          <a:ext cx="3867960" cy="4867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50A4FAFC-B117-460A-8122-707828F3388B}"/>
              </a:ext>
            </a:extLst>
          </p:cNvPr>
          <p:cNvPicPr>
            <a:picLocks noChangeAspect="1"/>
          </p:cNvPicPr>
          <p:nvPr/>
        </p:nvPicPr>
        <p:blipFill>
          <a:blip r:embed="rId8"/>
          <a:stretch>
            <a:fillRect/>
          </a:stretch>
        </p:blipFill>
        <p:spPr>
          <a:xfrm>
            <a:off x="4430158" y="1089854"/>
            <a:ext cx="3331683" cy="2190403"/>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45132B81-7A50-4D0B-97D6-5374835082E9}"/>
              </a:ext>
            </a:extLst>
          </p:cNvPr>
          <p:cNvPicPr>
            <a:picLocks noChangeAspect="1"/>
          </p:cNvPicPr>
          <p:nvPr/>
        </p:nvPicPr>
        <p:blipFill>
          <a:blip r:embed="rId9"/>
          <a:stretch>
            <a:fillRect/>
          </a:stretch>
        </p:blipFill>
        <p:spPr>
          <a:xfrm>
            <a:off x="4600649" y="1999874"/>
            <a:ext cx="6646446" cy="2858252"/>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7876D8B0-3F73-4C74-A8C4-68F7DD4C2FF8}"/>
              </a:ext>
            </a:extLst>
          </p:cNvPr>
          <p:cNvPicPr>
            <a:picLocks noChangeAspect="1"/>
          </p:cNvPicPr>
          <p:nvPr/>
        </p:nvPicPr>
        <p:blipFill>
          <a:blip r:embed="rId10"/>
          <a:stretch>
            <a:fillRect/>
          </a:stretch>
        </p:blipFill>
        <p:spPr>
          <a:xfrm>
            <a:off x="4706758" y="3207030"/>
            <a:ext cx="7085075" cy="285825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175036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nstration</a:t>
            </a:r>
          </a:p>
        </p:txBody>
      </p:sp>
    </p:spTree>
    <p:extLst>
      <p:ext uri="{BB962C8B-B14F-4D97-AF65-F5344CB8AC3E}">
        <p14:creationId xmlns:p14="http://schemas.microsoft.com/office/powerpoint/2010/main" val="2395979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355107" y="274638"/>
            <a:ext cx="11227293" cy="1143000"/>
          </a:xfrm>
        </p:spPr>
        <p:txBody>
          <a:bodyPr/>
          <a:lstStyle/>
          <a:p>
            <a:r>
              <a:rPr lang="en-US" dirty="0"/>
              <a:t>Database Alerts</a:t>
            </a:r>
          </a:p>
        </p:txBody>
      </p:sp>
      <p:graphicFrame>
        <p:nvGraphicFramePr>
          <p:cNvPr id="5" name="Diagram 4">
            <a:extLst>
              <a:ext uri="{FF2B5EF4-FFF2-40B4-BE49-F238E27FC236}">
                <a16:creationId xmlns:a16="http://schemas.microsoft.com/office/drawing/2014/main" id="{F7922D4F-C644-45C2-8532-8663AAA0F0E3}"/>
              </a:ext>
            </a:extLst>
          </p:cNvPr>
          <p:cNvGraphicFramePr/>
          <p:nvPr>
            <p:extLst>
              <p:ext uri="{D42A27DB-BD31-4B8C-83A1-F6EECF244321}">
                <p14:modId xmlns:p14="http://schemas.microsoft.com/office/powerpoint/2010/main" val="1383305730"/>
              </p:ext>
            </p:extLst>
          </p:nvPr>
        </p:nvGraphicFramePr>
        <p:xfrm>
          <a:off x="452176" y="1417638"/>
          <a:ext cx="11130224" cy="46362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619202B0-29D0-4D3E-8D0B-8FBC1ED46BBD}"/>
              </a:ext>
            </a:extLst>
          </p:cNvPr>
          <p:cNvSpPr txBox="1"/>
          <p:nvPr/>
        </p:nvSpPr>
        <p:spPr>
          <a:xfrm>
            <a:off x="355107" y="964895"/>
            <a:ext cx="11384717" cy="646331"/>
          </a:xfrm>
          <a:prstGeom prst="rect">
            <a:avLst/>
          </a:prstGeom>
          <a:noFill/>
        </p:spPr>
        <p:txBody>
          <a:bodyPr wrap="square" rtlCol="0">
            <a:spAutoFit/>
          </a:bodyPr>
          <a:lstStyle/>
          <a:p>
            <a:pPr lvl="0"/>
            <a:r>
              <a:rPr lang="en-US" baseline="0" dirty="0"/>
              <a:t>Proactively trigger various events related to database connectivity, high DTU usage or deadlocks, etc.</a:t>
            </a:r>
            <a:endParaRPr lang="en-US" dirty="0"/>
          </a:p>
          <a:p>
            <a:endParaRPr lang="en-US" dirty="0"/>
          </a:p>
        </p:txBody>
      </p:sp>
    </p:spTree>
    <p:extLst>
      <p:ext uri="{BB962C8B-B14F-4D97-AF65-F5344CB8AC3E}">
        <p14:creationId xmlns:p14="http://schemas.microsoft.com/office/powerpoint/2010/main" val="35359661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B635F-F687-4B74-899D-5741B3D47B95}"/>
              </a:ext>
            </a:extLst>
          </p:cNvPr>
          <p:cNvSpPr>
            <a:spLocks noGrp="1"/>
          </p:cNvSpPr>
          <p:nvPr>
            <p:ph type="title"/>
          </p:nvPr>
        </p:nvSpPr>
        <p:spPr>
          <a:xfrm>
            <a:off x="759936" y="179364"/>
            <a:ext cx="10880725" cy="461665"/>
          </a:xfrm>
        </p:spPr>
        <p:txBody>
          <a:bodyPr/>
          <a:lstStyle/>
          <a:p>
            <a:pPr defTabSz="457112">
              <a:lnSpc>
                <a:spcPts val="3500"/>
              </a:lnSpc>
            </a:pPr>
            <a:r>
              <a:rPr lang="en-US" sz="3600" spc="0" dirty="0">
                <a:ln>
                  <a:noFill/>
                </a:ln>
                <a:solidFill>
                  <a:schemeClr val="accent4">
                    <a:lumMod val="50000"/>
                  </a:schemeClr>
                </a:solidFill>
                <a:ea typeface="+mj-ea"/>
                <a:cs typeface="Segoe UI Light"/>
              </a:rPr>
              <a:t>SQL Database alert values</a:t>
            </a:r>
          </a:p>
        </p:txBody>
      </p:sp>
      <p:graphicFrame>
        <p:nvGraphicFramePr>
          <p:cNvPr id="7" name="Table 6">
            <a:extLst>
              <a:ext uri="{FF2B5EF4-FFF2-40B4-BE49-F238E27FC236}">
                <a16:creationId xmlns:a16="http://schemas.microsoft.com/office/drawing/2014/main" id="{80CB663F-A664-4D13-B6BF-AAC883034B13}"/>
              </a:ext>
            </a:extLst>
          </p:cNvPr>
          <p:cNvGraphicFramePr>
            <a:graphicFrameLocks noGrp="1"/>
          </p:cNvGraphicFramePr>
          <p:nvPr>
            <p:extLst>
              <p:ext uri="{D42A27DB-BD31-4B8C-83A1-F6EECF244321}">
                <p14:modId xmlns:p14="http://schemas.microsoft.com/office/powerpoint/2010/main" val="491659673"/>
              </p:ext>
            </p:extLst>
          </p:nvPr>
        </p:nvGraphicFramePr>
        <p:xfrm>
          <a:off x="759936" y="831162"/>
          <a:ext cx="10672128" cy="5706798"/>
        </p:xfrm>
        <a:graphic>
          <a:graphicData uri="http://schemas.openxmlformats.org/drawingml/2006/table">
            <a:tbl>
              <a:tblPr firstRow="1" bandRow="1">
                <a:tableStyleId>{69012ECD-51FC-41F1-AA8D-1B2483CD663E}</a:tableStyleId>
              </a:tblPr>
              <a:tblGrid>
                <a:gridCol w="4061188">
                  <a:extLst>
                    <a:ext uri="{9D8B030D-6E8A-4147-A177-3AD203B41FA5}">
                      <a16:colId xmlns:a16="http://schemas.microsoft.com/office/drawing/2014/main" val="1523435160"/>
                    </a:ext>
                  </a:extLst>
                </a:gridCol>
                <a:gridCol w="3010137">
                  <a:extLst>
                    <a:ext uri="{9D8B030D-6E8A-4147-A177-3AD203B41FA5}">
                      <a16:colId xmlns:a16="http://schemas.microsoft.com/office/drawing/2014/main" val="2943749789"/>
                    </a:ext>
                  </a:extLst>
                </a:gridCol>
                <a:gridCol w="3600803">
                  <a:extLst>
                    <a:ext uri="{9D8B030D-6E8A-4147-A177-3AD203B41FA5}">
                      <a16:colId xmlns:a16="http://schemas.microsoft.com/office/drawing/2014/main" val="1660173354"/>
                    </a:ext>
                  </a:extLst>
                </a:gridCol>
              </a:tblGrid>
              <a:tr h="320606">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nl-BE" sz="1400" dirty="0"/>
                        <a:t>Metric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nl-BE" sz="1400" dirty="0"/>
                        <a:t>Aggregation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algn="ctr"/>
                      <a:r>
                        <a:rPr lang="nl-BE" sz="1400" dirty="0"/>
                        <a:t>Minimum Alert Time Wind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650020078"/>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CPU percent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60127"/>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Data IO percent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1235282"/>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Log IO percent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4360551"/>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DTU percent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6234404"/>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Total database siz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Maximum</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30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7411528"/>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Successful Connection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Total</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10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8336002"/>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Failed Connection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Total</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10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9732891"/>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Blocked by Firewall</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Total</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10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8425975"/>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Deadlock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Total</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10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0648624"/>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Database size percent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Maximum</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30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2220380"/>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Workers percent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1990361"/>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Sessions percent</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30779173"/>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DTU limit</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640429"/>
                  </a:ext>
                </a:extLst>
              </a:tr>
              <a:tr h="38472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DTU used</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Average</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400" dirty="0">
                          <a:effectLst/>
                        </a:rPr>
                        <a:t>5 minutes</a:t>
                      </a:r>
                    </a:p>
                  </a:txBody>
                  <a:tcPr marL="101600" marR="101600" marT="76200" marB="762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5120536"/>
                  </a:ext>
                </a:extLst>
              </a:tr>
            </a:tbl>
          </a:graphicData>
        </a:graphic>
      </p:graphicFrame>
    </p:spTree>
    <p:extLst>
      <p:ext uri="{BB962C8B-B14F-4D97-AF65-F5344CB8AC3E}">
        <p14:creationId xmlns:p14="http://schemas.microsoft.com/office/powerpoint/2010/main" val="5747966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54938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5187668"/>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695811" y="1599016"/>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31" y="1716041"/>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5179325"/>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5166444"/>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2062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2086016413"/>
              </p:ext>
            </p:extLst>
          </p:nvPr>
        </p:nvGraphicFramePr>
        <p:xfrm>
          <a:off x="529636" y="1029959"/>
          <a:ext cx="6273098" cy="4798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2" descr="See the source image">
            <a:extLst>
              <a:ext uri="{FF2B5EF4-FFF2-40B4-BE49-F238E27FC236}">
                <a16:creationId xmlns:a16="http://schemas.microsoft.com/office/drawing/2014/main" id="{857EC274-5D96-44A8-893A-8D612231DD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14934" y="2172497"/>
            <a:ext cx="4746788" cy="2513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0377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Next Week?</a:t>
            </a:r>
          </a:p>
        </p:txBody>
      </p:sp>
      <p:pic>
        <p:nvPicPr>
          <p:cNvPr id="1026" name="Picture 2" descr="A person smiling for the camera&#10;&#10;Description automatically generated with medium confidence">
            <a:extLst>
              <a:ext uri="{FF2B5EF4-FFF2-40B4-BE49-F238E27FC236}">
                <a16:creationId xmlns:a16="http://schemas.microsoft.com/office/drawing/2014/main" id="{15AC12DC-A4B6-429C-92A1-D032C3254A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868" y="1524000"/>
            <a:ext cx="3810000" cy="3810000"/>
          </a:xfrm>
          <a:prstGeom prst="rect">
            <a:avLst/>
          </a:prstGeom>
          <a:noFill/>
        </p:spPr>
      </p:pic>
      <p:sp>
        <p:nvSpPr>
          <p:cNvPr id="5" name="TextBox 4">
            <a:extLst>
              <a:ext uri="{FF2B5EF4-FFF2-40B4-BE49-F238E27FC236}">
                <a16:creationId xmlns:a16="http://schemas.microsoft.com/office/drawing/2014/main" id="{2578B434-DC71-4B7C-A697-7EB705447626}"/>
              </a:ext>
            </a:extLst>
          </p:cNvPr>
          <p:cNvSpPr txBox="1"/>
          <p:nvPr/>
        </p:nvSpPr>
        <p:spPr>
          <a:xfrm>
            <a:off x="5505855" y="1530485"/>
            <a:ext cx="6108970" cy="1077218"/>
          </a:xfrm>
          <a:prstGeom prst="rect">
            <a:avLst/>
          </a:prstGeom>
          <a:noFill/>
        </p:spPr>
        <p:txBody>
          <a:bodyPr wrap="square">
            <a:spAutoFit/>
          </a:bodyPr>
          <a:lstStyle/>
          <a:p>
            <a:pPr algn="l" fontAlgn="ctr"/>
            <a:r>
              <a:rPr lang="en-US" sz="3200" b="1" i="0" dirty="0">
                <a:effectLst/>
                <a:latin typeface="+mj-lt"/>
              </a:rPr>
              <a:t>Brandon Lukes</a:t>
            </a:r>
          </a:p>
          <a:p>
            <a:pPr algn="l" fontAlgn="auto"/>
            <a:r>
              <a:rPr lang="en-US" sz="3200" b="0" i="0" dirty="0">
                <a:effectLst/>
                <a:latin typeface="+mj-lt"/>
              </a:rPr>
              <a:t>Customer Engineer at Microsoft</a:t>
            </a:r>
          </a:p>
        </p:txBody>
      </p:sp>
      <p:sp>
        <p:nvSpPr>
          <p:cNvPr id="7" name="TextBox 6">
            <a:extLst>
              <a:ext uri="{FF2B5EF4-FFF2-40B4-BE49-F238E27FC236}">
                <a16:creationId xmlns:a16="http://schemas.microsoft.com/office/drawing/2014/main" id="{27A8C25D-0B7D-4C44-B8C0-2CDEB73330D8}"/>
              </a:ext>
            </a:extLst>
          </p:cNvPr>
          <p:cNvSpPr txBox="1"/>
          <p:nvPr/>
        </p:nvSpPr>
        <p:spPr>
          <a:xfrm>
            <a:off x="5598269" y="3237637"/>
            <a:ext cx="6108970" cy="1754326"/>
          </a:xfrm>
          <a:prstGeom prst="rect">
            <a:avLst/>
          </a:prstGeom>
          <a:noFill/>
        </p:spPr>
        <p:txBody>
          <a:bodyPr wrap="square">
            <a:spAutoFit/>
          </a:bodyPr>
          <a:lstStyle/>
          <a:p>
            <a:r>
              <a:rPr lang="en-US" b="1" dirty="0"/>
              <a:t>Data Migration Assistant</a:t>
            </a:r>
          </a:p>
          <a:p>
            <a:r>
              <a:rPr lang="en-US" dirty="0"/>
              <a:t>In this session we will cover the Data Migration Assistant tool. DMA is the replacement for the old SQL Server Upgrade Advisor. We will look at the two main functions, assessing upgradability and migrating your SQL environment.</a:t>
            </a:r>
          </a:p>
        </p:txBody>
      </p:sp>
    </p:spTree>
    <p:extLst>
      <p:ext uri="{BB962C8B-B14F-4D97-AF65-F5344CB8AC3E}">
        <p14:creationId xmlns:p14="http://schemas.microsoft.com/office/powerpoint/2010/main" val="143966003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sz="4400" dirty="0">
                <a:solidFill>
                  <a:schemeClr val="accent4">
                    <a:lumMod val="75000"/>
                  </a:schemeClr>
                </a:solidFill>
              </a:rPr>
              <a:t>Share the Links</a:t>
            </a:r>
          </a:p>
        </p:txBody>
      </p:sp>
      <p:pic>
        <p:nvPicPr>
          <p:cNvPr id="4" name="Picture 2" descr="See the source image">
            <a:extLst>
              <a:ext uri="{FF2B5EF4-FFF2-40B4-BE49-F238E27FC236}">
                <a16:creationId xmlns:a16="http://schemas.microsoft.com/office/drawing/2014/main" id="{857EC274-5D96-44A8-893A-8D612231DD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769" y="2083547"/>
            <a:ext cx="5690188" cy="30124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5A223CF-05B5-4C18-B320-A7E519B330E1}"/>
              </a:ext>
            </a:extLst>
          </p:cNvPr>
          <p:cNvSpPr txBox="1"/>
          <p:nvPr/>
        </p:nvSpPr>
        <p:spPr>
          <a:xfrm>
            <a:off x="6792685" y="2690336"/>
            <a:ext cx="4812546" cy="1477328"/>
          </a:xfrm>
          <a:prstGeom prst="rect">
            <a:avLst/>
          </a:prstGeom>
          <a:noFill/>
        </p:spPr>
        <p:txBody>
          <a:bodyPr wrap="square">
            <a:spAutoFit/>
          </a:bodyPr>
          <a:lstStyle/>
          <a:p>
            <a:r>
              <a:rPr lang="en-US" dirty="0">
                <a:hlinkClick r:id="rId4"/>
              </a:rPr>
              <a:t>Azure Docs: Query Performance Insight</a:t>
            </a:r>
            <a:endParaRPr lang="en-US" dirty="0"/>
          </a:p>
          <a:p>
            <a:endParaRPr lang="en-US" dirty="0"/>
          </a:p>
          <a:p>
            <a:r>
              <a:rPr lang="en-US" dirty="0">
                <a:hlinkClick r:id="rId5"/>
              </a:rPr>
              <a:t>Performance with Azure SQL – Learn</a:t>
            </a:r>
            <a:endParaRPr lang="en-US" dirty="0"/>
          </a:p>
          <a:p>
            <a:endParaRPr lang="en-US" dirty="0"/>
          </a:p>
          <a:p>
            <a:r>
              <a:rPr lang="en-US" dirty="0">
                <a:hlinkClick r:id="rId6"/>
              </a:rPr>
              <a:t>Azure SQL Workshop</a:t>
            </a:r>
            <a:endParaRPr lang="en-US" dirty="0"/>
          </a:p>
        </p:txBody>
      </p:sp>
    </p:spTree>
    <p:extLst>
      <p:ext uri="{BB962C8B-B14F-4D97-AF65-F5344CB8AC3E}">
        <p14:creationId xmlns:p14="http://schemas.microsoft.com/office/powerpoint/2010/main" val="3854928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p:nvPr>
        </p:nvSpPr>
        <p:spPr>
          <a:xfrm>
            <a:off x="370314" y="4113146"/>
            <a:ext cx="6276531" cy="1793104"/>
          </a:xfrm>
        </p:spPr>
        <p:txBody>
          <a:bodyPr/>
          <a:lstStyle/>
          <a:p>
            <a:pPr>
              <a:lnSpc>
                <a:spcPct val="100000"/>
              </a:lnSpc>
            </a:pPr>
            <a:r>
              <a:rPr lang="en-US" b="1" dirty="0"/>
              <a:t>Query Performance Insight</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38443074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CC0578-8DF5-4384-BF5E-EA8B9516C52E}"/>
              </a:ext>
            </a:extLst>
          </p:cNvPr>
          <p:cNvSpPr>
            <a:spLocks noGrp="1"/>
          </p:cNvSpPr>
          <p:nvPr>
            <p:ph type="title"/>
          </p:nvPr>
        </p:nvSpPr>
        <p:spPr>
          <a:xfrm>
            <a:off x="355107" y="274638"/>
            <a:ext cx="11227293" cy="1143000"/>
          </a:xfrm>
        </p:spPr>
        <p:txBody>
          <a:bodyPr/>
          <a:lstStyle/>
          <a:p>
            <a:r>
              <a:rPr lang="en-US" dirty="0"/>
              <a:t>Query Performance Insight based on Query Store</a:t>
            </a:r>
          </a:p>
        </p:txBody>
      </p:sp>
      <p:pic>
        <p:nvPicPr>
          <p:cNvPr id="7" name="Picture 6" descr="A screenshot of a cell phone&#10;&#10;Description automatically generated">
            <a:extLst>
              <a:ext uri="{FF2B5EF4-FFF2-40B4-BE49-F238E27FC236}">
                <a16:creationId xmlns:a16="http://schemas.microsoft.com/office/drawing/2014/main" id="{D4718533-9C51-4AD3-81C0-3008AC8ABF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292" y="1252381"/>
            <a:ext cx="5096608" cy="4654393"/>
          </a:xfrm>
          <a:prstGeom prst="snip2DiagRect">
            <a:avLst/>
          </a:prstGeom>
          <a:solidFill>
            <a:srgbClr val="FFFFFF">
              <a:shade val="85000"/>
            </a:srgbClr>
          </a:solidFill>
          <a:ln w="88900" cap="sq">
            <a:solidFill>
              <a:srgbClr val="FFFFFF"/>
            </a:solidFill>
            <a:miter lim="800000"/>
          </a:ln>
          <a:effectLst>
            <a:outerShdw blurRad="50800" dist="38100" dir="10800000" algn="r" rotWithShape="0">
              <a:prstClr val="black">
                <a:alpha val="40000"/>
              </a:prstClr>
            </a:outerShdw>
          </a:effectLst>
          <a:scene3d>
            <a:camera prst="orthographicFront"/>
            <a:lightRig rig="twoPt" dir="t">
              <a:rot lat="0" lon="0" rev="7200000"/>
            </a:lightRig>
          </a:scene3d>
          <a:sp3d>
            <a:bevelT w="25400" h="19050"/>
            <a:contourClr>
              <a:srgbClr val="FFFFFF"/>
            </a:contourClr>
          </a:sp3d>
        </p:spPr>
      </p:pic>
      <p:graphicFrame>
        <p:nvGraphicFramePr>
          <p:cNvPr id="8" name="Content Placeholder 4">
            <a:extLst>
              <a:ext uri="{FF2B5EF4-FFF2-40B4-BE49-F238E27FC236}">
                <a16:creationId xmlns:a16="http://schemas.microsoft.com/office/drawing/2014/main" id="{2EE5884B-4B59-4341-8A75-2A55F93C26BA}"/>
              </a:ext>
            </a:extLst>
          </p:cNvPr>
          <p:cNvGraphicFramePr>
            <a:graphicFrameLocks/>
          </p:cNvGraphicFramePr>
          <p:nvPr>
            <p:extLst>
              <p:ext uri="{D42A27DB-BD31-4B8C-83A1-F6EECF244321}">
                <p14:modId xmlns:p14="http://schemas.microsoft.com/office/powerpoint/2010/main" val="1292805031"/>
              </p:ext>
            </p:extLst>
          </p:nvPr>
        </p:nvGraphicFramePr>
        <p:xfrm>
          <a:off x="5788240" y="1219200"/>
          <a:ext cx="6175159"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391454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Query Performance Insight </a:t>
            </a:r>
          </a:p>
        </p:txBody>
      </p:sp>
      <p:graphicFrame>
        <p:nvGraphicFramePr>
          <p:cNvPr id="10" name="Diagram 9">
            <a:extLst>
              <a:ext uri="{FF2B5EF4-FFF2-40B4-BE49-F238E27FC236}">
                <a16:creationId xmlns:a16="http://schemas.microsoft.com/office/drawing/2014/main" id="{D5EAC6A8-9722-4E31-8B79-B50329DB279B}"/>
              </a:ext>
            </a:extLst>
          </p:cNvPr>
          <p:cNvGraphicFramePr/>
          <p:nvPr>
            <p:extLst>
              <p:ext uri="{D42A27DB-BD31-4B8C-83A1-F6EECF244321}">
                <p14:modId xmlns:p14="http://schemas.microsoft.com/office/powerpoint/2010/main" val="1366105219"/>
              </p:ext>
            </p:extLst>
          </p:nvPr>
        </p:nvGraphicFramePr>
        <p:xfrm>
          <a:off x="882649" y="3285809"/>
          <a:ext cx="2875668" cy="28821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D47F6E10-BF55-463D-B0D1-3405228B8608}"/>
              </a:ext>
            </a:extLst>
          </p:cNvPr>
          <p:cNvPicPr>
            <a:picLocks noChangeAspect="1"/>
          </p:cNvPicPr>
          <p:nvPr/>
        </p:nvPicPr>
        <p:blipFill>
          <a:blip r:embed="rId8"/>
          <a:stretch>
            <a:fillRect/>
          </a:stretch>
        </p:blipFill>
        <p:spPr>
          <a:xfrm>
            <a:off x="4521757" y="1102568"/>
            <a:ext cx="7088033" cy="4826158"/>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3A2B4DAC-258B-4939-A424-91698C0AF876}"/>
              </a:ext>
            </a:extLst>
          </p:cNvPr>
          <p:cNvPicPr>
            <a:picLocks noChangeAspect="1"/>
          </p:cNvPicPr>
          <p:nvPr/>
        </p:nvPicPr>
        <p:blipFill>
          <a:blip r:embed="rId9"/>
          <a:stretch>
            <a:fillRect/>
          </a:stretch>
        </p:blipFill>
        <p:spPr>
          <a:xfrm>
            <a:off x="1314963" y="1102568"/>
            <a:ext cx="2011039" cy="186237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147045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Query Performance Insight </a:t>
            </a:r>
          </a:p>
        </p:txBody>
      </p:sp>
      <p:pic>
        <p:nvPicPr>
          <p:cNvPr id="9" name="Picture 8">
            <a:extLst>
              <a:ext uri="{FF2B5EF4-FFF2-40B4-BE49-F238E27FC236}">
                <a16:creationId xmlns:a16="http://schemas.microsoft.com/office/drawing/2014/main" id="{B32A425C-8379-4B4C-B4D6-9B30F752BCB6}"/>
              </a:ext>
            </a:extLst>
          </p:cNvPr>
          <p:cNvPicPr>
            <a:picLocks noChangeAspect="1"/>
          </p:cNvPicPr>
          <p:nvPr/>
        </p:nvPicPr>
        <p:blipFill>
          <a:blip r:embed="rId3"/>
          <a:stretch>
            <a:fillRect/>
          </a:stretch>
        </p:blipFill>
        <p:spPr>
          <a:xfrm>
            <a:off x="4507256" y="1016582"/>
            <a:ext cx="7207892" cy="4824835"/>
          </a:xfrm>
          <a:prstGeom prst="rect">
            <a:avLst/>
          </a:prstGeom>
          <a:ln>
            <a:noFill/>
          </a:ln>
          <a:effectLst>
            <a:outerShdw blurRad="190500" algn="tl" rotWithShape="0">
              <a:srgbClr val="000000">
                <a:alpha val="70000"/>
              </a:srgbClr>
            </a:outerShdw>
          </a:effectLst>
        </p:spPr>
      </p:pic>
      <p:graphicFrame>
        <p:nvGraphicFramePr>
          <p:cNvPr id="4" name="Diagram 3">
            <a:extLst>
              <a:ext uri="{FF2B5EF4-FFF2-40B4-BE49-F238E27FC236}">
                <a16:creationId xmlns:a16="http://schemas.microsoft.com/office/drawing/2014/main" id="{46610B0C-88F4-403F-B000-491EB39C5015}"/>
              </a:ext>
            </a:extLst>
          </p:cNvPr>
          <p:cNvGraphicFramePr/>
          <p:nvPr>
            <p:extLst>
              <p:ext uri="{D42A27DB-BD31-4B8C-83A1-F6EECF244321}">
                <p14:modId xmlns:p14="http://schemas.microsoft.com/office/powerpoint/2010/main" val="3318134842"/>
              </p:ext>
            </p:extLst>
          </p:nvPr>
        </p:nvGraphicFramePr>
        <p:xfrm>
          <a:off x="655638" y="1681932"/>
          <a:ext cx="3537527" cy="31393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922368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525</Words>
  <Application>Microsoft Office PowerPoint</Application>
  <PresentationFormat>Widescreen</PresentationFormat>
  <Paragraphs>214</Paragraphs>
  <Slides>16</Slides>
  <Notes>13</Notes>
  <HiddenSlides>1</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6</vt:i4>
      </vt:variant>
    </vt:vector>
  </HeadingPairs>
  <TitlesOfParts>
    <vt:vector size="29" baseType="lpstr">
      <vt:lpstr>Arial</vt:lpstr>
      <vt:lpstr>Calibri</vt:lpstr>
      <vt:lpstr>Calibri Light</vt:lpstr>
      <vt:lpstr>Cambria</vt:lpstr>
      <vt:lpstr>Century Gothic</vt:lpstr>
      <vt:lpstr>Comic Sans MS</vt:lpstr>
      <vt:lpstr>Consolas</vt:lpstr>
      <vt:lpstr>Segoe UI</vt:lpstr>
      <vt:lpstr>Segoe UI Light</vt:lpstr>
      <vt:lpstr>Segoe UI Semibold</vt:lpstr>
      <vt:lpstr>Wingdings</vt:lpstr>
      <vt:lpstr>PASS 2013_SpeakerTemplate_Final</vt:lpstr>
      <vt:lpstr>Dark Blue</vt:lpstr>
      <vt:lpstr>Azure SQL Database Performance Tuning    </vt:lpstr>
      <vt:lpstr>PowerPoint Presentation</vt:lpstr>
      <vt:lpstr>PowerPoint Presentation</vt:lpstr>
      <vt:lpstr>PowerPoint Presentation</vt:lpstr>
      <vt:lpstr>PowerPoint Presentation</vt:lpstr>
      <vt:lpstr>Query Performance Insight    </vt:lpstr>
      <vt:lpstr>Query Performance Insight based on Query Store</vt:lpstr>
      <vt:lpstr>Query Performance Insight </vt:lpstr>
      <vt:lpstr>Query Performance Insight </vt:lpstr>
      <vt:lpstr>Query Performance Insight </vt:lpstr>
      <vt:lpstr>Performance Recommendations</vt:lpstr>
      <vt:lpstr>Automatic Tuning</vt:lpstr>
      <vt:lpstr>PowerPoint Presentation</vt:lpstr>
      <vt:lpstr>Database Alerts</vt:lpstr>
      <vt:lpstr>SQL Database alert valu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1-09-28T15:0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